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2.xml" ContentType="application/vnd.openxmlformats-officedocument.them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heme/theme3.xml" ContentType="application/vnd.openxmlformats-officedocument.them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89" r:id="rId4"/>
    <p:sldMasterId id="2147483730" r:id="rId5"/>
  </p:sldMasterIdLst>
  <p:notesMasterIdLst>
    <p:notesMasterId r:id="rId11"/>
  </p:notesMasterIdLst>
  <p:sldIdLst>
    <p:sldId id="1915" r:id="rId6"/>
    <p:sldId id="2090" r:id="rId7"/>
    <p:sldId id="652" r:id="rId8"/>
    <p:sldId id="654" r:id="rId9"/>
    <p:sldId id="2091" r:id="rId10"/>
  </p:sldIdLst>
  <p:sldSz cx="12192000" cy="6858000"/>
  <p:notesSz cx="6858000" cy="9144000"/>
  <p:custDataLst>
    <p:tags r:id="rId12"/>
  </p:custDataLst>
  <p:defaultTextStyle>
    <a:defPPr>
      <a:defRPr lang="nb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Geir Smith-Solevåg" initials="" lastIdx="1" clrIdx="2"/>
  <p:cmAuthor id="1" name="Fenne, Unn Anett (NO - Oslo)" initials="FUA(-O" lastIdx="5" clrIdx="0">
    <p:extLst>
      <p:ext uri="{19B8F6BF-5375-455C-9EA6-DF929625EA0E}">
        <p15:presenceInfo xmlns:p15="http://schemas.microsoft.com/office/powerpoint/2012/main" userId="S-1-5-21-2094927150-201071529-617630493-1064427" providerId="AD"/>
      </p:ext>
    </p:extLst>
  </p:cmAuthor>
  <p:cmAuthor id="2" name="Hans Martin Hedenstad" initials="HMH" lastIdx="1" clrIdx="1">
    <p:extLst>
      <p:ext uri="{19B8F6BF-5375-455C-9EA6-DF929625EA0E}">
        <p15:presenceInfo xmlns:p15="http://schemas.microsoft.com/office/powerpoint/2012/main" userId="Hans Martin Hedenstad" providerId="None"/>
      </p:ext>
    </p:extLst>
  </p:cmAuthor>
  <p:cmAuthor id="3" name="Knut Haugsvær" initials="KH" lastIdx="20" clrIdx="3">
    <p:extLst>
      <p:ext uri="{19B8F6BF-5375-455C-9EA6-DF929625EA0E}">
        <p15:presenceInfo xmlns:p15="http://schemas.microsoft.com/office/powerpoint/2012/main" userId="S::knut.haugsvaer@frelsesarmeen.no::b5113dc1-26ab-4446-88d1-5dac5a66e05c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D262B"/>
    <a:srgbClr val="F2F2F2"/>
    <a:srgbClr val="000000"/>
    <a:srgbClr val="7F7F7F"/>
    <a:srgbClr val="A6A6A6"/>
    <a:srgbClr val="FFFFFF"/>
    <a:srgbClr val="FCE0E1"/>
    <a:srgbClr val="C00000"/>
    <a:srgbClr val="BAE370"/>
    <a:srgbClr val="FBD1D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73A0DAA-6AF3-43AB-8588-CEC1D06C72B9}" styleName="Middels sti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0"/>
    <p:restoredTop sz="94665"/>
  </p:normalViewPr>
  <p:slideViewPr>
    <p:cSldViewPr snapToGrid="0">
      <p:cViewPr varScale="1">
        <p:scale>
          <a:sx n="107" d="100"/>
          <a:sy n="107" d="100"/>
        </p:scale>
        <p:origin x="736" y="16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commentAuthors" Target="commentAuthors.xml"/><Relationship Id="rId18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tags" Target="tags/tag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viewProps" Target="viewProps.xml"/><Relationship Id="rId10" Type="http://schemas.openxmlformats.org/officeDocument/2006/relationships/slide" Target="slides/slide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as, Oskar" userId="7bf447b1-43fb-42ee-aa65-f682d2c7d730" providerId="ADAL" clId="{442C4219-E92B-496C-A4D3-7DB11B14B695}"/>
    <pc:docChg chg="modSld">
      <pc:chgData name="Aas, Oskar" userId="7bf447b1-43fb-42ee-aa65-f682d2c7d730" providerId="ADAL" clId="{442C4219-E92B-496C-A4D3-7DB11B14B695}" dt="2020-06-30T07:46:15.324" v="1" actId="27918"/>
      <pc:docMkLst>
        <pc:docMk/>
      </pc:docMkLst>
      <pc:sldChg chg="mod">
        <pc:chgData name="Aas, Oskar" userId="7bf447b1-43fb-42ee-aa65-f682d2c7d730" providerId="ADAL" clId="{442C4219-E92B-496C-A4D3-7DB11B14B695}" dt="2020-06-30T07:46:15.324" v="1" actId="27918"/>
        <pc:sldMkLst>
          <pc:docMk/>
          <pc:sldMk cId="3407959481" sldId="652"/>
        </pc:sldMkLst>
      </pc:sldChg>
    </pc:docChg>
  </pc:docChgLst>
  <pc:docChgLst>
    <pc:chgData name="Knut Haugsvær" userId="b5113dc1-26ab-4446-88d1-5dac5a66e05c" providerId="ADAL" clId="{0E10F24C-EA29-C84A-A8BA-679F2E945C15}"/>
    <pc:docChg chg="modSld">
      <pc:chgData name="Knut Haugsvær" userId="b5113dc1-26ab-4446-88d1-5dac5a66e05c" providerId="ADAL" clId="{0E10F24C-EA29-C84A-A8BA-679F2E945C15}" dt="2020-06-30T07:47:50.825" v="1" actId="27918"/>
      <pc:docMkLst>
        <pc:docMk/>
      </pc:docMkLst>
      <pc:sldChg chg="mod">
        <pc:chgData name="Knut Haugsvær" userId="b5113dc1-26ab-4446-88d1-5dac5a66e05c" providerId="ADAL" clId="{0E10F24C-EA29-C84A-A8BA-679F2E945C15}" dt="2020-06-30T07:47:50.825" v="1" actId="27918"/>
        <pc:sldMkLst>
          <pc:docMk/>
          <pc:sldMk cId="3407959481" sldId="652"/>
        </pc:sldMkLst>
      </pc:sldChg>
    </pc:docChg>
  </pc:docChgLst>
  <pc:docChgLst>
    <pc:chgData name="Aas, Oskar" userId="7bf447b1-43fb-42ee-aa65-f682d2c7d730" providerId="ADAL" clId="{53DFE77A-950D-4683-9DFE-4767AC0C4012}"/>
    <pc:docChg chg="undo custSel addSld delSld modSld modMainMaster delSection modSection">
      <pc:chgData name="Aas, Oskar" userId="7bf447b1-43fb-42ee-aa65-f682d2c7d730" providerId="ADAL" clId="{53DFE77A-950D-4683-9DFE-4767AC0C4012}" dt="2020-02-10T09:44:37.451" v="853" actId="20577"/>
      <pc:docMkLst>
        <pc:docMk/>
      </pc:docMkLst>
      <pc:sldChg chg="addSp modSp mod modTransition">
        <pc:chgData name="Aas, Oskar" userId="7bf447b1-43fb-42ee-aa65-f682d2c7d730" providerId="ADAL" clId="{53DFE77A-950D-4683-9DFE-4767AC0C4012}" dt="2020-02-10T09:27:42.259" v="622" actId="27918"/>
        <pc:sldMkLst>
          <pc:docMk/>
          <pc:sldMk cId="3407959481" sldId="652"/>
        </pc:sldMkLst>
        <pc:spChg chg="mod">
          <ac:chgData name="Aas, Oskar" userId="7bf447b1-43fb-42ee-aa65-f682d2c7d730" providerId="ADAL" clId="{53DFE77A-950D-4683-9DFE-4767AC0C4012}" dt="2020-02-03T13:04:30.298" v="425" actId="552"/>
          <ac:spMkLst>
            <pc:docMk/>
            <pc:sldMk cId="3407959481" sldId="652"/>
            <ac:spMk id="3" creationId="{36805A7B-ECAA-4D2D-9E03-2D23734174D7}"/>
          </ac:spMkLst>
        </pc:spChg>
        <pc:spChg chg="mod">
          <ac:chgData name="Aas, Oskar" userId="7bf447b1-43fb-42ee-aa65-f682d2c7d730" providerId="ADAL" clId="{53DFE77A-950D-4683-9DFE-4767AC0C4012}" dt="2020-02-03T13:04:30.836" v="447" actId="6549"/>
          <ac:spMkLst>
            <pc:docMk/>
            <pc:sldMk cId="3407959481" sldId="652"/>
            <ac:spMk id="22" creationId="{9DD13CCD-F09B-4280-8C0B-A85EE6B08212}"/>
          </ac:spMkLst>
        </pc:spChg>
        <pc:spChg chg="mod">
          <ac:chgData name="Aas, Oskar" userId="7bf447b1-43fb-42ee-aa65-f682d2c7d730" providerId="ADAL" clId="{53DFE77A-950D-4683-9DFE-4767AC0C4012}" dt="2020-02-03T13:04:19.938" v="424" actId="555"/>
          <ac:spMkLst>
            <pc:docMk/>
            <pc:sldMk cId="3407959481" sldId="652"/>
            <ac:spMk id="23" creationId="{D95F25F5-A887-4DFB-BBD8-72F5F6CFCEA1}"/>
          </ac:spMkLst>
        </pc:spChg>
        <pc:spChg chg="add mod">
          <ac:chgData name="Aas, Oskar" userId="7bf447b1-43fb-42ee-aa65-f682d2c7d730" providerId="ADAL" clId="{53DFE77A-950D-4683-9DFE-4767AC0C4012}" dt="2020-02-03T13:04:30.298" v="425" actId="552"/>
          <ac:spMkLst>
            <pc:docMk/>
            <pc:sldMk cId="3407959481" sldId="652"/>
            <ac:spMk id="24" creationId="{7B296571-4A57-4066-BBFC-77D1160B116B}"/>
          </ac:spMkLst>
        </pc:spChg>
        <pc:grpChg chg="mod">
          <ac:chgData name="Aas, Oskar" userId="7bf447b1-43fb-42ee-aa65-f682d2c7d730" providerId="ADAL" clId="{53DFE77A-950D-4683-9DFE-4767AC0C4012}" dt="2020-02-03T13:00:50.241" v="271" actId="1076"/>
          <ac:grpSpMkLst>
            <pc:docMk/>
            <pc:sldMk cId="3407959481" sldId="652"/>
            <ac:grpSpMk id="2" creationId="{64A318CE-F288-4BE4-BAC6-F9EBF1180AE0}"/>
          </ac:grpSpMkLst>
        </pc:grpChg>
        <pc:grpChg chg="mod">
          <ac:chgData name="Aas, Oskar" userId="7bf447b1-43fb-42ee-aa65-f682d2c7d730" providerId="ADAL" clId="{53DFE77A-950D-4683-9DFE-4767AC0C4012}" dt="2020-02-03T13:01:12.351" v="277" actId="1076"/>
          <ac:grpSpMkLst>
            <pc:docMk/>
            <pc:sldMk cId="3407959481" sldId="652"/>
            <ac:grpSpMk id="13" creationId="{602F4A58-3E0A-4E17-85F5-8B6D3DF4D40E}"/>
          </ac:grpSpMkLst>
        </pc:grpChg>
        <pc:graphicFrameChg chg="mod">
          <ac:chgData name="Aas, Oskar" userId="7bf447b1-43fb-42ee-aa65-f682d2c7d730" providerId="ADAL" clId="{53DFE77A-950D-4683-9DFE-4767AC0C4012}" dt="2020-02-03T13:02:34.979" v="358" actId="1076"/>
          <ac:graphicFrameMkLst>
            <pc:docMk/>
            <pc:sldMk cId="3407959481" sldId="652"/>
            <ac:graphicFrameMk id="6" creationId="{DECE38A5-488A-4CF4-AD08-6316782ADBE9}"/>
          </ac:graphicFrameMkLst>
        </pc:graphicFrameChg>
        <pc:graphicFrameChg chg="mod">
          <ac:chgData name="Aas, Oskar" userId="7bf447b1-43fb-42ee-aa65-f682d2c7d730" providerId="ADAL" clId="{53DFE77A-950D-4683-9DFE-4767AC0C4012}" dt="2020-02-03T13:04:30.854" v="449"/>
          <ac:graphicFrameMkLst>
            <pc:docMk/>
            <pc:sldMk cId="3407959481" sldId="652"/>
            <ac:graphicFrameMk id="21" creationId="{79DE9D77-BFE0-446B-96C6-D53461FAA7E8}"/>
          </ac:graphicFrameMkLst>
        </pc:graphicFrameChg>
        <pc:picChg chg="mod">
          <ac:chgData name="Aas, Oskar" userId="7bf447b1-43fb-42ee-aa65-f682d2c7d730" providerId="ADAL" clId="{53DFE77A-950D-4683-9DFE-4767AC0C4012}" dt="2020-02-03T13:00:47.163" v="270" actId="1076"/>
          <ac:picMkLst>
            <pc:docMk/>
            <pc:sldMk cId="3407959481" sldId="652"/>
            <ac:picMk id="4" creationId="{94A05B30-492C-4338-BF6D-3D671FEDB784}"/>
          </ac:picMkLst>
        </pc:picChg>
        <pc:picChg chg="mod">
          <ac:chgData name="Aas, Oskar" userId="7bf447b1-43fb-42ee-aa65-f682d2c7d730" providerId="ADAL" clId="{53DFE77A-950D-4683-9DFE-4767AC0C4012}" dt="2020-02-03T13:01:17.118" v="279" actId="1076"/>
          <ac:picMkLst>
            <pc:docMk/>
            <pc:sldMk cId="3407959481" sldId="652"/>
            <ac:picMk id="8" creationId="{A32C5A01-6A6F-4E1C-AE60-600451A70F45}"/>
          </ac:picMkLst>
        </pc:picChg>
        <pc:picChg chg="mod">
          <ac:chgData name="Aas, Oskar" userId="7bf447b1-43fb-42ee-aa65-f682d2c7d730" providerId="ADAL" clId="{53DFE77A-950D-4683-9DFE-4767AC0C4012}" dt="2020-02-03T13:01:15.282" v="278" actId="1076"/>
          <ac:picMkLst>
            <pc:docMk/>
            <pc:sldMk cId="3407959481" sldId="652"/>
            <ac:picMk id="9" creationId="{F63C5F74-A2CF-4E7B-BDE8-616631E991F6}"/>
          </ac:picMkLst>
        </pc:picChg>
        <pc:picChg chg="mod">
          <ac:chgData name="Aas, Oskar" userId="7bf447b1-43fb-42ee-aa65-f682d2c7d730" providerId="ADAL" clId="{53DFE77A-950D-4683-9DFE-4767AC0C4012}" dt="2020-02-03T13:01:08.171" v="276" actId="1076"/>
          <ac:picMkLst>
            <pc:docMk/>
            <pc:sldMk cId="3407959481" sldId="652"/>
            <ac:picMk id="14" creationId="{05A6D120-13BB-42B2-A0EF-5A76414056C8}"/>
          </ac:picMkLst>
        </pc:picChg>
        <pc:picChg chg="mod">
          <ac:chgData name="Aas, Oskar" userId="7bf447b1-43fb-42ee-aa65-f682d2c7d730" providerId="ADAL" clId="{53DFE77A-950D-4683-9DFE-4767AC0C4012}" dt="2020-02-03T13:01:06.072" v="275" actId="1076"/>
          <ac:picMkLst>
            <pc:docMk/>
            <pc:sldMk cId="3407959481" sldId="652"/>
            <ac:picMk id="15" creationId="{7198F2A0-27D0-426C-8AA8-5C72C3CEA8E7}"/>
          </ac:picMkLst>
        </pc:picChg>
        <pc:picChg chg="mod">
          <ac:chgData name="Aas, Oskar" userId="7bf447b1-43fb-42ee-aa65-f682d2c7d730" providerId="ADAL" clId="{53DFE77A-950D-4683-9DFE-4767AC0C4012}" dt="2020-02-03T13:00:58.485" v="274" actId="1076"/>
          <ac:picMkLst>
            <pc:docMk/>
            <pc:sldMk cId="3407959481" sldId="652"/>
            <ac:picMk id="16" creationId="{2C2CD242-F42E-42EF-98EC-78919975732A}"/>
          </ac:picMkLst>
        </pc:picChg>
        <pc:picChg chg="mod">
          <ac:chgData name="Aas, Oskar" userId="7bf447b1-43fb-42ee-aa65-f682d2c7d730" providerId="ADAL" clId="{53DFE77A-950D-4683-9DFE-4767AC0C4012}" dt="2020-02-03T13:00:55.039" v="273" actId="1076"/>
          <ac:picMkLst>
            <pc:docMk/>
            <pc:sldMk cId="3407959481" sldId="652"/>
            <ac:picMk id="17" creationId="{7EEF31E6-E714-45C2-927B-1A519602BCF1}"/>
          </ac:picMkLst>
        </pc:picChg>
        <pc:picChg chg="mod">
          <ac:chgData name="Aas, Oskar" userId="7bf447b1-43fb-42ee-aa65-f682d2c7d730" providerId="ADAL" clId="{53DFE77A-950D-4683-9DFE-4767AC0C4012}" dt="2020-02-03T13:00:52.564" v="272" actId="1076"/>
          <ac:picMkLst>
            <pc:docMk/>
            <pc:sldMk cId="3407959481" sldId="652"/>
            <ac:picMk id="18" creationId="{C377AF14-BA4D-431C-9202-8057CEE64026}"/>
          </ac:picMkLst>
        </pc:picChg>
        <pc:picChg chg="mod">
          <ac:chgData name="Aas, Oskar" userId="7bf447b1-43fb-42ee-aa65-f682d2c7d730" providerId="ADAL" clId="{53DFE77A-950D-4683-9DFE-4767AC0C4012}" dt="2020-02-03T13:00:42.884" v="268" actId="1076"/>
          <ac:picMkLst>
            <pc:docMk/>
            <pc:sldMk cId="3407959481" sldId="652"/>
            <ac:picMk id="19" creationId="{199EABF9-6C36-4015-BB65-702F76E3D424}"/>
          </ac:picMkLst>
        </pc:picChg>
        <pc:picChg chg="mod">
          <ac:chgData name="Aas, Oskar" userId="7bf447b1-43fb-42ee-aa65-f682d2c7d730" providerId="ADAL" clId="{53DFE77A-950D-4683-9DFE-4767AC0C4012}" dt="2020-02-03T13:00:44.939" v="269" actId="1076"/>
          <ac:picMkLst>
            <pc:docMk/>
            <pc:sldMk cId="3407959481" sldId="652"/>
            <ac:picMk id="20" creationId="{411D929B-C185-4060-9598-1DD7EFD31195}"/>
          </ac:picMkLst>
        </pc:picChg>
      </pc:sldChg>
      <pc:sldChg chg="addSp delSp modSp modTransition">
        <pc:chgData name="Aas, Oskar" userId="7bf447b1-43fb-42ee-aa65-f682d2c7d730" providerId="ADAL" clId="{53DFE77A-950D-4683-9DFE-4767AC0C4012}" dt="2020-02-03T13:04:44.095" v="450" actId="478"/>
        <pc:sldMkLst>
          <pc:docMk/>
          <pc:sldMk cId="1984175398" sldId="654"/>
        </pc:sldMkLst>
        <pc:spChg chg="add del mod">
          <ac:chgData name="Aas, Oskar" userId="7bf447b1-43fb-42ee-aa65-f682d2c7d730" providerId="ADAL" clId="{53DFE77A-950D-4683-9DFE-4767AC0C4012}" dt="2020-02-03T13:04:44.095" v="450" actId="478"/>
          <ac:spMkLst>
            <pc:docMk/>
            <pc:sldMk cId="1984175398" sldId="654"/>
            <ac:spMk id="2" creationId="{AF906605-4431-417C-94FF-EF918A7E14E1}"/>
          </ac:spMkLst>
        </pc:spChg>
        <pc:spChg chg="mod">
          <ac:chgData name="Aas, Oskar" userId="7bf447b1-43fb-42ee-aa65-f682d2c7d730" providerId="ADAL" clId="{53DFE77A-950D-4683-9DFE-4767AC0C4012}" dt="2020-02-03T13:00:32.403" v="264" actId="6549"/>
          <ac:spMkLst>
            <pc:docMk/>
            <pc:sldMk cId="1984175398" sldId="654"/>
            <ac:spMk id="10" creationId="{17F50C4A-7AA9-4975-8E8D-E9B95868546D}"/>
          </ac:spMkLst>
        </pc:spChg>
        <pc:graphicFrameChg chg="mod">
          <ac:chgData name="Aas, Oskar" userId="7bf447b1-43fb-42ee-aa65-f682d2c7d730" providerId="ADAL" clId="{53DFE77A-950D-4683-9DFE-4767AC0C4012}" dt="2020-02-03T13:00:32.428" v="266"/>
          <ac:graphicFrameMkLst>
            <pc:docMk/>
            <pc:sldMk cId="1984175398" sldId="654"/>
            <ac:graphicFrameMk id="11" creationId="{D0672A2E-8E02-4AD7-BF3D-A3E0E628C55A}"/>
          </ac:graphicFrameMkLst>
        </pc:graphicFrameChg>
      </pc:sldChg>
      <pc:sldChg chg="addSp delSp modSp add delCm">
        <pc:chgData name="Aas, Oskar" userId="7bf447b1-43fb-42ee-aa65-f682d2c7d730" providerId="ADAL" clId="{53DFE77A-950D-4683-9DFE-4767AC0C4012}" dt="2020-02-03T13:00:01.020" v="215" actId="478"/>
        <pc:sldMkLst>
          <pc:docMk/>
          <pc:sldMk cId="26357990" sldId="1915"/>
        </pc:sldMkLst>
        <pc:spChg chg="mod ord">
          <ac:chgData name="Aas, Oskar" userId="7bf447b1-43fb-42ee-aa65-f682d2c7d730" providerId="ADAL" clId="{53DFE77A-950D-4683-9DFE-4767AC0C4012}" dt="2020-02-03T12:59:41.343" v="204"/>
          <ac:spMkLst>
            <pc:docMk/>
            <pc:sldMk cId="26357990" sldId="1915"/>
            <ac:spMk id="2" creationId="{CE9F67A4-F624-48FB-85AF-3C1271319F7C}"/>
          </ac:spMkLst>
        </pc:spChg>
        <pc:spChg chg="add del mod">
          <ac:chgData name="Aas, Oskar" userId="7bf447b1-43fb-42ee-aa65-f682d2c7d730" providerId="ADAL" clId="{53DFE77A-950D-4683-9DFE-4767AC0C4012}" dt="2020-02-03T13:00:01.020" v="215" actId="478"/>
          <ac:spMkLst>
            <pc:docMk/>
            <pc:sldMk cId="26357990" sldId="1915"/>
            <ac:spMk id="6" creationId="{0A8A08B4-3721-4746-A7A4-1520A9130F62}"/>
          </ac:spMkLst>
        </pc:spChg>
        <pc:spChg chg="mod ord">
          <ac:chgData name="Aas, Oskar" userId="7bf447b1-43fb-42ee-aa65-f682d2c7d730" providerId="ADAL" clId="{53DFE77A-950D-4683-9DFE-4767AC0C4012}" dt="2020-02-03T12:59:41.341" v="198"/>
          <ac:spMkLst>
            <pc:docMk/>
            <pc:sldMk cId="26357990" sldId="1915"/>
            <ac:spMk id="8" creationId="{80E381A9-AD07-4CFF-ACF1-FADCDFA2C149}"/>
          </ac:spMkLst>
        </pc:spChg>
        <pc:spChg chg="mod ord">
          <ac:chgData name="Aas, Oskar" userId="7bf447b1-43fb-42ee-aa65-f682d2c7d730" providerId="ADAL" clId="{53DFE77A-950D-4683-9DFE-4767AC0C4012}" dt="2020-02-03T12:59:41.344" v="208"/>
          <ac:spMkLst>
            <pc:docMk/>
            <pc:sldMk cId="26357990" sldId="1915"/>
            <ac:spMk id="13" creationId="{1F449803-321A-4C37-9201-00D4CE5ADF72}"/>
          </ac:spMkLst>
        </pc:spChg>
        <pc:graphicFrameChg chg="mod ord">
          <ac:chgData name="Aas, Oskar" userId="7bf447b1-43fb-42ee-aa65-f682d2c7d730" providerId="ADAL" clId="{53DFE77A-950D-4683-9DFE-4767AC0C4012}" dt="2020-02-03T12:59:41.358" v="210"/>
          <ac:graphicFrameMkLst>
            <pc:docMk/>
            <pc:sldMk cId="26357990" sldId="1915"/>
            <ac:graphicFrameMk id="7" creationId="{9E6B7E2E-BE80-4028-819C-DD0AAAA033A4}"/>
          </ac:graphicFrameMkLst>
        </pc:graphicFrameChg>
        <pc:picChg chg="add mod ord modCrop">
          <ac:chgData name="Aas, Oskar" userId="7bf447b1-43fb-42ee-aa65-f682d2c7d730" providerId="ADAL" clId="{53DFE77A-950D-4683-9DFE-4767AC0C4012}" dt="2020-02-03T12:59:55.737" v="213" actId="732"/>
          <ac:picMkLst>
            <pc:docMk/>
            <pc:sldMk cId="26357990" sldId="1915"/>
            <ac:picMk id="4" creationId="{41842428-3012-4719-A537-E94FD55665AF}"/>
          </ac:picMkLst>
        </pc:picChg>
        <pc:picChg chg="mod ord">
          <ac:chgData name="Aas, Oskar" userId="7bf447b1-43fb-42ee-aa65-f682d2c7d730" providerId="ADAL" clId="{53DFE77A-950D-4683-9DFE-4767AC0C4012}" dt="2020-02-03T12:59:41.344" v="206"/>
          <ac:picMkLst>
            <pc:docMk/>
            <pc:sldMk cId="26357990" sldId="1915"/>
            <ac:picMk id="9" creationId="{488DAD1E-6A67-4CB3-89E6-BFAAF75B6CDD}"/>
          </ac:picMkLst>
        </pc:picChg>
        <pc:picChg chg="del mod ord">
          <ac:chgData name="Aas, Oskar" userId="7bf447b1-43fb-42ee-aa65-f682d2c7d730" providerId="ADAL" clId="{53DFE77A-950D-4683-9DFE-4767AC0C4012}" dt="2020-02-03T12:59:43.570" v="211" actId="478"/>
          <ac:picMkLst>
            <pc:docMk/>
            <pc:sldMk cId="26357990" sldId="1915"/>
            <ac:picMk id="11" creationId="{9E51EC4C-80D0-494C-938A-4A6510EC9844}"/>
          </ac:picMkLst>
        </pc:picChg>
      </pc:sldChg>
      <pc:sldChg chg="addSp modSp add">
        <pc:chgData name="Aas, Oskar" userId="7bf447b1-43fb-42ee-aa65-f682d2c7d730" providerId="ADAL" clId="{53DFE77A-950D-4683-9DFE-4767AC0C4012}" dt="2020-02-10T09:44:37.451" v="853" actId="20577"/>
        <pc:sldMkLst>
          <pc:docMk/>
          <pc:sldMk cId="856697574" sldId="2091"/>
        </pc:sldMkLst>
        <pc:spChg chg="mod ord">
          <ac:chgData name="Aas, Oskar" userId="7bf447b1-43fb-42ee-aa65-f682d2c7d730" providerId="ADAL" clId="{53DFE77A-950D-4683-9DFE-4767AC0C4012}" dt="2020-02-10T09:37:52.572" v="746" actId="20577"/>
          <ac:spMkLst>
            <pc:docMk/>
            <pc:sldMk cId="856697574" sldId="2091"/>
            <ac:spMk id="2" creationId="{2718B21A-CF73-4FD0-83B0-E42F7A752BAE}"/>
          </ac:spMkLst>
        </pc:spChg>
        <pc:spChg chg="mod ord">
          <ac:chgData name="Aas, Oskar" userId="7bf447b1-43fb-42ee-aa65-f682d2c7d730" providerId="ADAL" clId="{53DFE77A-950D-4683-9DFE-4767AC0C4012}" dt="2020-02-10T09:44:37.451" v="853" actId="20577"/>
          <ac:spMkLst>
            <pc:docMk/>
            <pc:sldMk cId="856697574" sldId="2091"/>
            <ac:spMk id="3" creationId="{0D8AE3BD-2FDA-416A-9858-707DF9CF893D}"/>
          </ac:spMkLst>
        </pc:spChg>
        <pc:spChg chg="mod ord">
          <ac:chgData name="Aas, Oskar" userId="7bf447b1-43fb-42ee-aa65-f682d2c7d730" providerId="ADAL" clId="{53DFE77A-950D-4683-9DFE-4767AC0C4012}" dt="2020-02-10T09:37:41.709" v="672"/>
          <ac:spMkLst>
            <pc:docMk/>
            <pc:sldMk cId="856697574" sldId="2091"/>
            <ac:spMk id="4" creationId="{7DFBA5E6-81E9-4930-A913-9579D2E1353F}"/>
          </ac:spMkLst>
        </pc:spChg>
        <pc:spChg chg="add mod ord">
          <ac:chgData name="Aas, Oskar" userId="7bf447b1-43fb-42ee-aa65-f682d2c7d730" providerId="ADAL" clId="{53DFE77A-950D-4683-9DFE-4767AC0C4012}" dt="2020-02-10T09:37:41.708" v="666"/>
          <ac:spMkLst>
            <pc:docMk/>
            <pc:sldMk cId="856697574" sldId="2091"/>
            <ac:spMk id="5" creationId="{7617065E-9AC7-49A6-B312-2084275505A9}"/>
          </ac:spMkLst>
        </pc:spChg>
        <pc:graphicFrameChg chg="add mod ord">
          <ac:chgData name="Aas, Oskar" userId="7bf447b1-43fb-42ee-aa65-f682d2c7d730" providerId="ADAL" clId="{53DFE77A-950D-4683-9DFE-4767AC0C4012}" dt="2020-02-10T09:37:53.083" v="748"/>
          <ac:graphicFrameMkLst>
            <pc:docMk/>
            <pc:sldMk cId="856697574" sldId="2091"/>
            <ac:graphicFrameMk id="6" creationId="{9C89A4B6-3BF4-41AC-8F49-197EB39B435F}"/>
          </ac:graphicFrameMkLst>
        </pc:graphicFrameChg>
      </pc:sldChg>
      <pc:sldMasterChg chg="delSldLayout">
        <pc:chgData name="Aas, Oskar" userId="7bf447b1-43fb-42ee-aa65-f682d2c7d730" providerId="ADAL" clId="{53DFE77A-950D-4683-9DFE-4767AC0C4012}" dt="2020-02-03T12:53:26.189" v="1" actId="2696"/>
        <pc:sldMasterMkLst>
          <pc:docMk/>
          <pc:sldMasterMk cId="3334112976" sldId="2147483689"/>
        </pc:sldMasterMkLst>
      </pc:sldMasterChg>
      <pc:sldMasterChg chg="modSldLayout">
        <pc:chgData name="Aas, Oskar" userId="7bf447b1-43fb-42ee-aa65-f682d2c7d730" providerId="ADAL" clId="{53DFE77A-950D-4683-9DFE-4767AC0C4012}" dt="2020-02-03T14:47:19.578" v="498" actId="732"/>
        <pc:sldMasterMkLst>
          <pc:docMk/>
          <pc:sldMasterMk cId="4183888221" sldId="2147483730"/>
        </pc:sldMasterMkLst>
        <pc:sldLayoutChg chg="modSp">
          <pc:chgData name="Aas, Oskar" userId="7bf447b1-43fb-42ee-aa65-f682d2c7d730" providerId="ADAL" clId="{53DFE77A-950D-4683-9DFE-4767AC0C4012}" dt="2020-02-03T14:47:19.578" v="498" actId="732"/>
          <pc:sldLayoutMkLst>
            <pc:docMk/>
            <pc:sldMasterMk cId="4183888221" sldId="2147483730"/>
            <pc:sldLayoutMk cId="3787792745" sldId="2147483747"/>
          </pc:sldLayoutMkLst>
          <pc:picChg chg="mod modCrop">
            <ac:chgData name="Aas, Oskar" userId="7bf447b1-43fb-42ee-aa65-f682d2c7d730" providerId="ADAL" clId="{53DFE77A-950D-4683-9DFE-4767AC0C4012}" dt="2020-02-03T14:47:19.578" v="498" actId="732"/>
            <ac:picMkLst>
              <pc:docMk/>
              <pc:sldMasterMk cId="4183888221" sldId="2147483730"/>
              <pc:sldLayoutMk cId="3787792745" sldId="2147483747"/>
              <ac:picMk id="25" creationId="{150F4748-AED7-DE49-9E14-AC36DD018814}"/>
            </ac:picMkLst>
          </pc:picChg>
        </pc:sldLayoutChg>
      </pc:sldMasterChg>
    </pc:docChg>
  </pc:docChgLst>
  <pc:docChgLst>
    <pc:chgData name="Knut Haugsvær" userId="b5113dc1-26ab-4446-88d1-5dac5a66e05c" providerId="ADAL" clId="{A565EC87-BD80-8C43-81F1-476DD8C600A3}"/>
    <pc:docChg chg="undo custSel modSld">
      <pc:chgData name="Knut Haugsvær" userId="b5113dc1-26ab-4446-88d1-5dac5a66e05c" providerId="ADAL" clId="{A565EC87-BD80-8C43-81F1-476DD8C600A3}" dt="2021-01-07T22:58:49.819" v="15" actId="27918"/>
      <pc:docMkLst>
        <pc:docMk/>
      </pc:docMkLst>
      <pc:sldChg chg="mod">
        <pc:chgData name="Knut Haugsvær" userId="b5113dc1-26ab-4446-88d1-5dac5a66e05c" providerId="ADAL" clId="{A565EC87-BD80-8C43-81F1-476DD8C600A3}" dt="2021-01-07T22:58:49.819" v="15" actId="27918"/>
        <pc:sldMkLst>
          <pc:docMk/>
          <pc:sldMk cId="3407959481" sldId="652"/>
        </pc:sldMkLst>
      </pc:sldChg>
      <pc:sldChg chg="modSp mod">
        <pc:chgData name="Knut Haugsvær" userId="b5113dc1-26ab-4446-88d1-5dac5a66e05c" providerId="ADAL" clId="{A565EC87-BD80-8C43-81F1-476DD8C600A3}" dt="2021-01-07T22:58:07.022" v="10" actId="1076"/>
        <pc:sldMkLst>
          <pc:docMk/>
          <pc:sldMk cId="26357990" sldId="1915"/>
        </pc:sldMkLst>
        <pc:picChg chg="mod">
          <ac:chgData name="Knut Haugsvær" userId="b5113dc1-26ab-4446-88d1-5dac5a66e05c" providerId="ADAL" clId="{A565EC87-BD80-8C43-81F1-476DD8C600A3}" dt="2021-01-07T22:58:07.022" v="10" actId="1076"/>
          <ac:picMkLst>
            <pc:docMk/>
            <pc:sldMk cId="26357990" sldId="1915"/>
            <ac:picMk id="4" creationId="{41842428-3012-4719-A537-E94FD55665AF}"/>
          </ac:picMkLst>
        </pc:picChg>
        <pc:picChg chg="mod">
          <ac:chgData name="Knut Haugsvær" userId="b5113dc1-26ab-4446-88d1-5dac5a66e05c" providerId="ADAL" clId="{A565EC87-BD80-8C43-81F1-476DD8C600A3}" dt="2021-01-07T22:58:02.732" v="8" actId="1076"/>
          <ac:picMkLst>
            <pc:docMk/>
            <pc:sldMk cId="26357990" sldId="1915"/>
            <ac:picMk id="9" creationId="{488DAD1E-6A67-4CB3-89E6-BFAAF75B6CDD}"/>
          </ac:picMkLst>
        </pc:picChg>
      </pc:sldChg>
    </pc:docChg>
  </pc:docChgLst>
  <pc:docChgLst>
    <pc:chgData name="Aas, Oskar" userId="7bf447b1-43fb-42ee-aa65-f682d2c7d730" providerId="ADAL" clId="{B96C0B74-F4A4-46B5-8CC9-A93A25DFB90A}"/>
    <pc:docChg chg="modSld">
      <pc:chgData name="Aas, Oskar" userId="7bf447b1-43fb-42ee-aa65-f682d2c7d730" providerId="ADAL" clId="{B96C0B74-F4A4-46B5-8CC9-A93A25DFB90A}" dt="2020-02-12T11:14:47.465" v="1" actId="27918"/>
      <pc:docMkLst>
        <pc:docMk/>
      </pc:docMkLst>
      <pc:sldChg chg="mod">
        <pc:chgData name="Aas, Oskar" userId="7bf447b1-43fb-42ee-aa65-f682d2c7d730" providerId="ADAL" clId="{B96C0B74-F4A4-46B5-8CC9-A93A25DFB90A}" dt="2020-02-12T11:14:47.465" v="1" actId="27918"/>
        <pc:sldMkLst>
          <pc:docMk/>
          <pc:sldMk cId="3407959481" sldId="652"/>
        </pc:sldMkLst>
      </pc:sldChg>
    </pc:docChg>
  </pc:docChgLst>
  <pc:docChgLst>
    <pc:chgData name="Knut Haugsvær" userId="S::knut.haugsvaer@frelsesarmeen.no::b5113dc1-26ab-4446-88d1-5dac5a66e05c" providerId="AD" clId="Web-{AF221D85-76DC-4B2B-847A-51323DB8FDE5}"/>
    <pc:docChg chg="modSld">
      <pc:chgData name="Knut Haugsvær" userId="S::knut.haugsvaer@frelsesarmeen.no::b5113dc1-26ab-4446-88d1-5dac5a66e05c" providerId="AD" clId="Web-{AF221D85-76DC-4B2B-847A-51323DB8FDE5}" dt="2020-02-25T14:19:14.455" v="1" actId="1076"/>
      <pc:docMkLst>
        <pc:docMk/>
      </pc:docMkLst>
      <pc:sldChg chg="modSp">
        <pc:chgData name="Knut Haugsvær" userId="S::knut.haugsvaer@frelsesarmeen.no::b5113dc1-26ab-4446-88d1-5dac5a66e05c" providerId="AD" clId="Web-{AF221D85-76DC-4B2B-847A-51323DB8FDE5}" dt="2020-02-25T14:19:14.455" v="1" actId="1076"/>
        <pc:sldMkLst>
          <pc:docMk/>
          <pc:sldMk cId="3407959481" sldId="652"/>
        </pc:sldMkLst>
        <pc:graphicFrameChg chg="mod">
          <ac:chgData name="Knut Haugsvær" userId="S::knut.haugsvaer@frelsesarmeen.no::b5113dc1-26ab-4446-88d1-5dac5a66e05c" providerId="AD" clId="Web-{AF221D85-76DC-4B2B-847A-51323DB8FDE5}" dt="2020-02-25T14:19:14.455" v="1" actId="1076"/>
          <ac:graphicFrameMkLst>
            <pc:docMk/>
            <pc:sldMk cId="3407959481" sldId="652"/>
            <ac:graphicFrameMk id="6" creationId="{DECE38A5-488A-4CF4-AD08-6316782ADBE9}"/>
          </ac:graphicFrameMkLst>
        </pc:graphicFrameChg>
      </pc:sldChg>
    </pc:docChg>
  </pc:docChgLst>
  <pc:docChgLst>
    <pc:chgData name="Knut Haugsvær" userId="S::knut.haugsvaer@frelsesarmeen.no::b5113dc1-26ab-4446-88d1-5dac5a66e05c" providerId="AD" clId="Web-{6F8E10E3-1FEC-4A01-A19A-AABEF368FB7B}"/>
    <pc:docChg chg="modSld">
      <pc:chgData name="Knut Haugsvær" userId="S::knut.haugsvaer@frelsesarmeen.no::b5113dc1-26ab-4446-88d1-5dac5a66e05c" providerId="AD" clId="Web-{6F8E10E3-1FEC-4A01-A19A-AABEF368FB7B}" dt="2020-06-30T07:45:33.159" v="1"/>
      <pc:docMkLst>
        <pc:docMk/>
      </pc:docMkLst>
      <pc:sldChg chg="addSp delSp modSp">
        <pc:chgData name="Knut Haugsvær" userId="S::knut.haugsvaer@frelsesarmeen.no::b5113dc1-26ab-4446-88d1-5dac5a66e05c" providerId="AD" clId="Web-{6F8E10E3-1FEC-4A01-A19A-AABEF368FB7B}" dt="2020-06-30T07:45:33.159" v="1"/>
        <pc:sldMkLst>
          <pc:docMk/>
          <pc:sldMk cId="3407959481" sldId="652"/>
        </pc:sldMkLst>
        <pc:spChg chg="add del mod">
          <ac:chgData name="Knut Haugsvær" userId="S::knut.haugsvaer@frelsesarmeen.no::b5113dc1-26ab-4446-88d1-5dac5a66e05c" providerId="AD" clId="Web-{6F8E10E3-1FEC-4A01-A19A-AABEF368FB7B}" dt="2020-06-30T07:45:33.159" v="1"/>
          <ac:spMkLst>
            <pc:docMk/>
            <pc:sldMk cId="3407959481" sldId="652"/>
            <ac:spMk id="26" creationId="{AC38C8D9-B754-475F-8EB7-7F1DA5CC37D3}"/>
          </ac:spMkLst>
        </pc:spChg>
        <pc:graphicFrameChg chg="add del">
          <ac:chgData name="Knut Haugsvær" userId="S::knut.haugsvaer@frelsesarmeen.no::b5113dc1-26ab-4446-88d1-5dac5a66e05c" providerId="AD" clId="Web-{6F8E10E3-1FEC-4A01-A19A-AABEF368FB7B}" dt="2020-06-30T07:45:33.159" v="1"/>
          <ac:graphicFrameMkLst>
            <pc:docMk/>
            <pc:sldMk cId="3407959481" sldId="652"/>
            <ac:graphicFrameMk id="6" creationId="{DECE38A5-488A-4CF4-AD08-6316782ADBE9}"/>
          </ac:graphicFrameMkLst>
        </pc:graphicFrame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regneark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0938504894337765"/>
          <c:y val="0.12105242111736665"/>
          <c:w val="0.37252255987320554"/>
          <c:h val="0.82303098495221472"/>
        </c:manualLayout>
      </c:layout>
      <c:radarChart>
        <c:radarStyle val="fill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Vurdering</c:v>
                </c:pt>
              </c:strCache>
            </c:strRef>
          </c:tx>
          <c:spPr>
            <a:solidFill>
              <a:srgbClr val="ED262B">
                <a:alpha val="20000"/>
              </a:srgbClr>
            </a:solidFill>
            <a:ln w="9525" cap="flat" cmpd="sng" algn="ctr">
              <a:solidFill>
                <a:srgbClr val="ED262B"/>
              </a:solidFill>
              <a:round/>
            </a:ln>
            <a:effectLst/>
          </c:spPr>
          <c:cat>
            <c:strRef>
              <c:f>Sheet1!$A$2:$A$13</c:f>
              <c:strCache>
                <c:ptCount val="12"/>
                <c:pt idx="0">
                  <c:v>Store marginaliserte grupper</c:v>
                </c:pt>
                <c:pt idx="1">
                  <c:v>Lav kristen virksomhet</c:v>
                </c:pt>
                <c:pt idx="2">
                  <c:v>Få andre aktører</c:v>
                </c:pt>
                <c:pt idx="3">
                  <c:v>Manglende offentlige tilbud</c:v>
                </c:pt>
                <c:pt idx="4">
                  <c:v>Økonomisk bærekraftighet</c:v>
                </c:pt>
                <c:pt idx="5">
                  <c:v>Tilgjengelig ressurser lokalt</c:v>
                </c:pt>
                <c:pt idx="6">
                  <c:v>Allerede eksisterende god aktivitet</c:v>
                </c:pt>
                <c:pt idx="7">
                  <c:v>Nærhet mellom enheter (samarbeidsmuligheter)</c:v>
                </c:pt>
                <c:pt idx="8">
                  <c:v>Befolkningsgrunnlag</c:v>
                </c:pt>
                <c:pt idx="9">
                  <c:v>Befolkningsvekst</c:v>
                </c:pt>
                <c:pt idx="10">
                  <c:v>Mulighet for å drifte tiltak med offentlig tilskudd</c:v>
                </c:pt>
                <c:pt idx="11">
                  <c:v>Politiske muligheter</c:v>
                </c:pt>
              </c:strCache>
            </c:strRef>
          </c:cat>
          <c:val>
            <c:numRef>
              <c:f>Sheet1!$B$2:$B$13</c:f>
              <c:numCache>
                <c:formatCode>General</c:formatCode>
                <c:ptCount val="12"/>
                <c:pt idx="0">
                  <c:v>6</c:v>
                </c:pt>
                <c:pt idx="1">
                  <c:v>2</c:v>
                </c:pt>
                <c:pt idx="2">
                  <c:v>7</c:v>
                </c:pt>
                <c:pt idx="3">
                  <c:v>4</c:v>
                </c:pt>
                <c:pt idx="4">
                  <c:v>7</c:v>
                </c:pt>
                <c:pt idx="5">
                  <c:v>6</c:v>
                </c:pt>
                <c:pt idx="6">
                  <c:v>5</c:v>
                </c:pt>
                <c:pt idx="7">
                  <c:v>7</c:v>
                </c:pt>
                <c:pt idx="8">
                  <c:v>4</c:v>
                </c:pt>
                <c:pt idx="9">
                  <c:v>5</c:v>
                </c:pt>
                <c:pt idx="10">
                  <c:v>1</c:v>
                </c:pt>
                <c:pt idx="11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CF7-48F0-B0A1-FB09DC21B5C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057657576"/>
        <c:axId val="2057657904"/>
      </c:radarChart>
      <c:catAx>
        <c:axId val="20576575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2057657904"/>
        <c:crosses val="autoZero"/>
        <c:auto val="1"/>
        <c:lblAlgn val="ctr"/>
        <c:lblOffset val="100"/>
        <c:noMultiLvlLbl val="0"/>
      </c:catAx>
      <c:valAx>
        <c:axId val="2057657904"/>
        <c:scaling>
          <c:orientation val="minMax"/>
          <c:max val="10"/>
        </c:scaling>
        <c:delete val="0"/>
        <c:axPos val="l"/>
        <c:majorGridlines>
          <c:spPr>
            <a:ln w="9525" cap="flat" cmpd="sng" algn="ctr">
              <a:solidFill>
                <a:schemeClr val="bg2">
                  <a:lumMod val="90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205765757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6">
  <cs:axisTitle>
    <cs:lnRef idx="0"/>
    <cs:fillRef idx="0"/>
    <cs:effectRef idx="0"/>
    <cs:fontRef idx="minor">
      <a:schemeClr val="tx1">
        <a:lumMod val="50000"/>
        <a:lumOff val="50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>
  <cs:dataPoint3D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3D>
  <cs:dataPointLine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158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4"/>
  <cs:dataPointWirefram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862" kern="1200" cap="none" spc="20" baseline="0"/>
  </cs:title>
  <cs:trendlin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D728D8B-7B36-344D-B637-85B5A2C3C01A}" type="datetimeFigureOut">
              <a:rPr lang="nb-NO" smtClean="0"/>
              <a:t>07.01.2021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FDD5555-5873-C344-BF70-7CBB8FF49E8A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1424107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2400" kern="1200">
        <a:solidFill>
          <a:schemeClr val="tx1"/>
        </a:solidFill>
        <a:latin typeface="Garamond" charset="0"/>
        <a:ea typeface="Garamond" charset="0"/>
        <a:cs typeface="Garamond" charset="0"/>
      </a:defRPr>
    </a:lvl1pPr>
    <a:lvl2pPr marL="457200" algn="l" defTabSz="914400" rtl="0" eaLnBrk="1" latinLnBrk="0" hangingPunct="1">
      <a:defRPr sz="2400" kern="1200">
        <a:solidFill>
          <a:schemeClr val="tx1"/>
        </a:solidFill>
        <a:latin typeface="Garamond" charset="0"/>
        <a:ea typeface="Garamond" charset="0"/>
        <a:cs typeface="Garamond" charset="0"/>
      </a:defRPr>
    </a:lvl2pPr>
    <a:lvl3pPr marL="914400" algn="l" defTabSz="914400" rtl="0" eaLnBrk="1" latinLnBrk="0" hangingPunct="1">
      <a:defRPr sz="2400" kern="1200">
        <a:solidFill>
          <a:schemeClr val="tx1"/>
        </a:solidFill>
        <a:latin typeface="Garamond" charset="0"/>
        <a:ea typeface="Garamond" charset="0"/>
        <a:cs typeface="Garamond" charset="0"/>
      </a:defRPr>
    </a:lvl3pPr>
    <a:lvl4pPr marL="1371600" algn="l" defTabSz="914400" rtl="0" eaLnBrk="1" latinLnBrk="0" hangingPunct="1">
      <a:defRPr sz="2400" kern="1200">
        <a:solidFill>
          <a:schemeClr val="tx1"/>
        </a:solidFill>
        <a:latin typeface="Garamond" charset="0"/>
        <a:ea typeface="Garamond" charset="0"/>
        <a:cs typeface="Garamond" charset="0"/>
      </a:defRPr>
    </a:lvl4pPr>
    <a:lvl5pPr marL="1828800" algn="l" defTabSz="914400" rtl="0" eaLnBrk="1" latinLnBrk="0" hangingPunct="1">
      <a:defRPr sz="2400" kern="1200">
        <a:solidFill>
          <a:schemeClr val="tx1"/>
        </a:solidFill>
        <a:latin typeface="Garamond" charset="0"/>
        <a:ea typeface="Garamond" charset="0"/>
        <a:cs typeface="Garamond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5.xml"/><Relationship Id="rId7" Type="http://schemas.openxmlformats.org/officeDocument/2006/relationships/image" Target="../media/image2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3.emf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5.xml"/><Relationship Id="rId7" Type="http://schemas.openxmlformats.org/officeDocument/2006/relationships/image" Target="../media/image3.emf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29.xml"/><Relationship Id="rId7" Type="http://schemas.openxmlformats.org/officeDocument/2006/relationships/image" Target="../media/image5.jpeg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2.emf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31.xml"/><Relationship Id="rId7" Type="http://schemas.openxmlformats.org/officeDocument/2006/relationships/image" Target="../media/image6.jpeg"/><Relationship Id="rId2" Type="http://schemas.openxmlformats.org/officeDocument/2006/relationships/tags" Target="../tags/tag30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7.xml"/><Relationship Id="rId7" Type="http://schemas.openxmlformats.org/officeDocument/2006/relationships/image" Target="../media/image2.em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33.xml"/><Relationship Id="rId7" Type="http://schemas.openxmlformats.org/officeDocument/2006/relationships/image" Target="../media/image3.emf"/><Relationship Id="rId2" Type="http://schemas.openxmlformats.org/officeDocument/2006/relationships/tags" Target="../tags/tag3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35.xml"/><Relationship Id="rId7" Type="http://schemas.openxmlformats.org/officeDocument/2006/relationships/image" Target="../media/image7.jpeg"/><Relationship Id="rId2" Type="http://schemas.openxmlformats.org/officeDocument/2006/relationships/tags" Target="../tags/tag34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2.emf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37.xml"/><Relationship Id="rId7" Type="http://schemas.openxmlformats.org/officeDocument/2006/relationships/image" Target="../media/image8.png"/><Relationship Id="rId2" Type="http://schemas.openxmlformats.org/officeDocument/2006/relationships/tags" Target="../tags/tag36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2.emf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tags" Target="../tags/tag39.xml"/><Relationship Id="rId7" Type="http://schemas.openxmlformats.org/officeDocument/2006/relationships/image" Target="../media/image1.emf"/><Relationship Id="rId2" Type="http://schemas.openxmlformats.org/officeDocument/2006/relationships/tags" Target="../tags/tag38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slideMaster" Target="../slideMasters/slideMaster2.xml"/><Relationship Id="rId10" Type="http://schemas.openxmlformats.org/officeDocument/2006/relationships/image" Target="../media/image2.emf"/><Relationship Id="rId4" Type="http://schemas.openxmlformats.org/officeDocument/2006/relationships/tags" Target="../tags/tag40.xml"/><Relationship Id="rId9" Type="http://schemas.openxmlformats.org/officeDocument/2006/relationships/image" Target="../media/image3.emf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3" Type="http://schemas.openxmlformats.org/officeDocument/2006/relationships/tags" Target="../tags/tag42.xml"/><Relationship Id="rId7" Type="http://schemas.openxmlformats.org/officeDocument/2006/relationships/image" Target="../media/image1.emf"/><Relationship Id="rId2" Type="http://schemas.openxmlformats.org/officeDocument/2006/relationships/tags" Target="../tags/tag41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0.bin"/><Relationship Id="rId5" Type="http://schemas.openxmlformats.org/officeDocument/2006/relationships/slideMaster" Target="../slideMasters/slideMaster2.xml"/><Relationship Id="rId10" Type="http://schemas.openxmlformats.org/officeDocument/2006/relationships/image" Target="../media/image2.emf"/><Relationship Id="rId4" Type="http://schemas.openxmlformats.org/officeDocument/2006/relationships/tags" Target="../tags/tag43.xml"/><Relationship Id="rId9" Type="http://schemas.openxmlformats.org/officeDocument/2006/relationships/image" Target="../media/image3.emf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tags" Target="../tags/tag45.xml"/><Relationship Id="rId7" Type="http://schemas.openxmlformats.org/officeDocument/2006/relationships/image" Target="../media/image1.emf"/><Relationship Id="rId2" Type="http://schemas.openxmlformats.org/officeDocument/2006/relationships/tags" Target="../tags/tag44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21.bin"/><Relationship Id="rId5" Type="http://schemas.openxmlformats.org/officeDocument/2006/relationships/slideMaster" Target="../slideMasters/slideMaster2.xml"/><Relationship Id="rId10" Type="http://schemas.openxmlformats.org/officeDocument/2006/relationships/image" Target="../media/image2.emf"/><Relationship Id="rId4" Type="http://schemas.openxmlformats.org/officeDocument/2006/relationships/tags" Target="../tags/tag46.xml"/><Relationship Id="rId9" Type="http://schemas.openxmlformats.org/officeDocument/2006/relationships/image" Target="../media/image3.emf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48.xml"/><Relationship Id="rId7" Type="http://schemas.openxmlformats.org/officeDocument/2006/relationships/image" Target="../media/image1.emf"/><Relationship Id="rId2" Type="http://schemas.openxmlformats.org/officeDocument/2006/relationships/tags" Target="../tags/tag47.xml"/><Relationship Id="rId1" Type="http://schemas.openxmlformats.org/officeDocument/2006/relationships/vmlDrawing" Target="../drawings/vmlDrawing22.vml"/><Relationship Id="rId6" Type="http://schemas.openxmlformats.org/officeDocument/2006/relationships/oleObject" Target="../embeddings/oleObject22.bin"/><Relationship Id="rId11" Type="http://schemas.openxmlformats.org/officeDocument/2006/relationships/image" Target="../media/image2.emf"/><Relationship Id="rId5" Type="http://schemas.openxmlformats.org/officeDocument/2006/relationships/slideMaster" Target="../slideMasters/slideMaster2.xml"/><Relationship Id="rId10" Type="http://schemas.openxmlformats.org/officeDocument/2006/relationships/image" Target="../media/image3.emf"/><Relationship Id="rId4" Type="http://schemas.openxmlformats.org/officeDocument/2006/relationships/tags" Target="../tags/tag49.xml"/><Relationship Id="rId9" Type="http://schemas.microsoft.com/office/2007/relationships/hdphoto" Target="../media/hdphoto1.wdp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51.xml"/><Relationship Id="rId7" Type="http://schemas.openxmlformats.org/officeDocument/2006/relationships/image" Target="../media/image13.jpeg"/><Relationship Id="rId2" Type="http://schemas.openxmlformats.org/officeDocument/2006/relationships/tags" Target="../tags/tag50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2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9.xml"/><Relationship Id="rId7" Type="http://schemas.openxmlformats.org/officeDocument/2006/relationships/image" Target="../media/image2.emf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53.xml"/><Relationship Id="rId7" Type="http://schemas.openxmlformats.org/officeDocument/2006/relationships/image" Target="../media/image15.jpeg"/><Relationship Id="rId2" Type="http://schemas.openxmlformats.org/officeDocument/2006/relationships/tags" Target="../tags/tag52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3.emf"/></Relationships>
</file>

<file path=ppt/slideLayouts/_rels/slideLayout33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tags" Target="../tags/tag55.xml"/><Relationship Id="rId7" Type="http://schemas.openxmlformats.org/officeDocument/2006/relationships/image" Target="../media/image16.png"/><Relationship Id="rId2" Type="http://schemas.openxmlformats.org/officeDocument/2006/relationships/tags" Target="../tags/tag54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.bin"/><Relationship Id="rId10" Type="http://schemas.openxmlformats.org/officeDocument/2006/relationships/image" Target="../media/image3.emf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2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57.xml"/><Relationship Id="rId7" Type="http://schemas.openxmlformats.org/officeDocument/2006/relationships/image" Target="../media/image17.jpeg"/><Relationship Id="rId2" Type="http://schemas.openxmlformats.org/officeDocument/2006/relationships/tags" Target="../tags/tag56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3.emf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7" Type="http://schemas.openxmlformats.org/officeDocument/2006/relationships/image" Target="../media/image3.emf"/><Relationship Id="rId2" Type="http://schemas.openxmlformats.org/officeDocument/2006/relationships/tags" Target="../tags/tag58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7.bin"/><Relationship Id="rId4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1.xml"/><Relationship Id="rId7" Type="http://schemas.openxmlformats.org/officeDocument/2006/relationships/image" Target="../media/image4.emf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3.emf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3.emf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3.emf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uten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82431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rgbClr val="FFFFFF"/>
          </a:solidFill>
          <a:ln w="1270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89803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endParaRPr lang="nb-NO" sz="4800" b="1" i="0" baseline="0" err="1">
              <a:latin typeface="Garamond" panose="02020404030301010803" pitchFamily="18" charset="0"/>
              <a:ea typeface="+mj-ea"/>
              <a:cs typeface="+mj-cs"/>
              <a:sym typeface="Garamond" panose="02020404030301010803" pitchFamily="18" charset="0"/>
            </a:endParaRPr>
          </a:p>
        </p:txBody>
      </p:sp>
      <p:pic>
        <p:nvPicPr>
          <p:cNvPr id="10" name="Bilde 9">
            <a:extLst>
              <a:ext uri="{FF2B5EF4-FFF2-40B4-BE49-F238E27FC236}">
                <a16:creationId xmlns:a16="http://schemas.microsoft.com/office/drawing/2014/main" id="{49F6FB83-A012-0B4C-94E5-ECD2E6A44CD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39782" y="453616"/>
            <a:ext cx="628036" cy="728009"/>
          </a:xfrm>
          <a:prstGeom prst="rect">
            <a:avLst/>
          </a:prstGeom>
        </p:spPr>
      </p:pic>
      <p:pic>
        <p:nvPicPr>
          <p:cNvPr id="6" name="Bilde 5">
            <a:extLst>
              <a:ext uri="{FF2B5EF4-FFF2-40B4-BE49-F238E27FC236}">
                <a16:creationId xmlns:a16="http://schemas.microsoft.com/office/drawing/2014/main" id="{150F4748-AED7-DE49-9E14-AC36DD01881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3136" t="1783" r="-3" b="-15317"/>
          <a:stretch/>
        </p:blipFill>
        <p:spPr>
          <a:xfrm>
            <a:off x="0" y="1776299"/>
            <a:ext cx="1076487" cy="3840728"/>
          </a:xfrm>
          <a:prstGeom prst="rect">
            <a:avLst/>
          </a:prstGeom>
        </p:spPr>
      </p:pic>
      <p:sp>
        <p:nvSpPr>
          <p:cNvPr id="7" name="Tittel 1"/>
          <p:cNvSpPr>
            <a:spLocks noGrp="1"/>
          </p:cNvSpPr>
          <p:nvPr>
            <p:ph type="ctrTitle"/>
          </p:nvPr>
        </p:nvSpPr>
        <p:spPr>
          <a:xfrm>
            <a:off x="1813751" y="2253526"/>
            <a:ext cx="9226031" cy="911941"/>
          </a:xfrm>
        </p:spPr>
        <p:txBody>
          <a:bodyPr anchor="b">
            <a:normAutofit/>
          </a:bodyPr>
          <a:lstStyle>
            <a:lvl1pPr algn="l">
              <a:defRPr sz="48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9" name="Undertittel 2">
            <a:extLst>
              <a:ext uri="{FF2B5EF4-FFF2-40B4-BE49-F238E27FC236}">
                <a16:creationId xmlns:a16="http://schemas.microsoft.com/office/drawing/2014/main" id="{09795B0A-6A01-D743-9AFA-ADAA8FABBDF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813752" y="3165467"/>
            <a:ext cx="9226030" cy="102724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27069565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theving av enkelto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968395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7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rgbClr val="FFFFFF"/>
          </a:solidFill>
          <a:ln w="1270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89803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endParaRPr lang="nb-NO" sz="4800" b="1" i="0" baseline="0" err="1">
              <a:latin typeface="Garamond" panose="02020404030301010803" pitchFamily="18" charset="0"/>
              <a:ea typeface="+mj-ea"/>
              <a:cs typeface="+mj-cs"/>
              <a:sym typeface="Garamond" panose="02020404030301010803" pitchFamily="18" charset="0"/>
            </a:endParaRPr>
          </a:p>
        </p:txBody>
      </p:sp>
      <p:pic>
        <p:nvPicPr>
          <p:cNvPr id="6" name="Bilde 5">
            <a:extLst>
              <a:ext uri="{FF2B5EF4-FFF2-40B4-BE49-F238E27FC236}">
                <a16:creationId xmlns:a16="http://schemas.microsoft.com/office/drawing/2014/main" id="{150F4748-AED7-DE49-9E14-AC36DD01881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3136" t="1783" r="-3" b="-15317"/>
          <a:stretch/>
        </p:blipFill>
        <p:spPr>
          <a:xfrm>
            <a:off x="0" y="1776299"/>
            <a:ext cx="1076487" cy="3840728"/>
          </a:xfrm>
          <a:prstGeom prst="rect">
            <a:avLst/>
          </a:prstGeom>
        </p:spPr>
      </p:pic>
      <p:sp>
        <p:nvSpPr>
          <p:cNvPr id="7" name="Tittel 1"/>
          <p:cNvSpPr>
            <a:spLocks noGrp="1"/>
          </p:cNvSpPr>
          <p:nvPr>
            <p:ph type="ctrTitle"/>
          </p:nvPr>
        </p:nvSpPr>
        <p:spPr>
          <a:xfrm>
            <a:off x="1635735" y="2596426"/>
            <a:ext cx="10022865" cy="911941"/>
          </a:xfrm>
        </p:spPr>
        <p:txBody>
          <a:bodyPr anchor="b">
            <a:normAutofit/>
          </a:bodyPr>
          <a:lstStyle>
            <a:lvl1pPr algn="ctr">
              <a:defRPr sz="4800">
                <a:solidFill>
                  <a:srgbClr val="DB322A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foto boks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ssholder for bilde 5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2" name="Rektangel 1">
            <a:extLst>
              <a:ext uri="{FF2B5EF4-FFF2-40B4-BE49-F238E27FC236}">
                <a16:creationId xmlns:a16="http://schemas.microsoft.com/office/drawing/2014/main" id="{D8193CB1-DB4F-A24E-B19C-F1442B11F3EA}"/>
              </a:ext>
            </a:extLst>
          </p:cNvPr>
          <p:cNvSpPr/>
          <p:nvPr userDrawn="1"/>
        </p:nvSpPr>
        <p:spPr>
          <a:xfrm>
            <a:off x="6980903" y="1635241"/>
            <a:ext cx="4581832" cy="4581832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nb-NO"/>
          </a:p>
        </p:txBody>
      </p:sp>
      <p:sp>
        <p:nvSpPr>
          <p:cNvPr id="9" name="Plassholder for innhold 3">
            <a:extLst>
              <a:ext uri="{FF2B5EF4-FFF2-40B4-BE49-F238E27FC236}">
                <a16:creationId xmlns:a16="http://schemas.microsoft.com/office/drawing/2014/main" id="{2AA1BD41-7AE6-8A4E-A47D-B6698FA88893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6248581" y="828470"/>
            <a:ext cx="5314154" cy="5201060"/>
          </a:xfrm>
          <a:prstGeom prst="rect">
            <a:avLst/>
          </a:prstGeom>
          <a:solidFill>
            <a:srgbClr val="FFFFFF">
              <a:alpha val="74902"/>
            </a:srgb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5000" b="1">
                <a:solidFill>
                  <a:sysClr val="windowText" lastClr="000000"/>
                </a:solidFill>
                <a:latin typeface="Garamond" panose="02020404030301010803" pitchFamily="18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</a:t>
            </a:r>
            <a:br>
              <a:rPr lang="nb-NO"/>
            </a:br>
            <a:r>
              <a:rPr lang="nb-NO"/>
              <a:t>å redigere </a:t>
            </a:r>
            <a:br>
              <a:rPr lang="nb-NO"/>
            </a:br>
            <a:r>
              <a:rPr lang="nb-NO"/>
              <a:t>tekststiler </a:t>
            </a:r>
            <a:br>
              <a:rPr lang="nb-NO"/>
            </a:br>
            <a:r>
              <a:rPr lang="nb-NO"/>
              <a:t>i malen</a:t>
            </a:r>
          </a:p>
        </p:txBody>
      </p:sp>
    </p:spTree>
    <p:extLst>
      <p:ext uri="{BB962C8B-B14F-4D97-AF65-F5344CB8AC3E}">
        <p14:creationId xmlns:p14="http://schemas.microsoft.com/office/powerpoint/2010/main" val="21196779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ssholder for bilde 5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nb-NO"/>
              <a:t>Klikk på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1290134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foto m/ boks vens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02713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1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rgbClr val="FFFFFF"/>
          </a:solidFill>
          <a:ln w="1270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89803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endParaRPr lang="nb-NO" sz="5333" b="1" i="0" baseline="0" err="1">
              <a:latin typeface="Garamond" panose="02020404030301010803" pitchFamily="18" charset="0"/>
              <a:ea typeface="+mj-ea"/>
              <a:cs typeface="+mj-cs"/>
              <a:sym typeface="Garamond" panose="02020404030301010803" pitchFamily="18" charset="0"/>
            </a:endParaRPr>
          </a:p>
        </p:txBody>
      </p:sp>
      <p:sp>
        <p:nvSpPr>
          <p:cNvPr id="5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 lIns="0" tIns="0" rIns="0" bIns="0" anchor="t" anchorCtr="0">
            <a:normAutofit/>
          </a:bodyPr>
          <a:lstStyle>
            <a:lvl1pPr marL="0" indent="0" algn="ctr">
              <a:buNone/>
              <a:defRPr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587058" y="601472"/>
            <a:ext cx="5508943" cy="5608320"/>
          </a:xfrm>
          <a:solidFill>
            <a:schemeClr val="tx1">
              <a:alpha val="80000"/>
            </a:schemeClr>
          </a:solidFill>
        </p:spPr>
        <p:txBody>
          <a:bodyPr lIns="256032" tIns="182880" rIns="255600" bIns="0" anchor="t">
            <a:noAutofit/>
          </a:bodyPr>
          <a:lstStyle>
            <a:lvl1pPr algn="l">
              <a:defRPr sz="5333" b="1" baseline="0">
                <a:solidFill>
                  <a:schemeClr val="bg1"/>
                </a:solidFill>
              </a:defRPr>
            </a:lvl1pPr>
          </a:lstStyle>
          <a:p>
            <a:r>
              <a:rPr lang="nb-NO"/>
              <a:t>Tekst 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quarter" idx="14"/>
          </p:nvPr>
        </p:nvSpPr>
        <p:spPr>
          <a:xfrm>
            <a:off x="995691" y="1794334"/>
            <a:ext cx="4727496" cy="4145281"/>
          </a:xfrm>
        </p:spPr>
        <p:txBody>
          <a:bodyPr anchor="t">
            <a:normAutofit/>
          </a:bodyPr>
          <a:lstStyle>
            <a:lvl1pPr marL="365751" indent="-365751">
              <a:buClr>
                <a:schemeClr val="bg1"/>
              </a:buClr>
              <a:buFont typeface="Arial" pitchFamily="34" charset="0"/>
              <a:buChar char="•"/>
              <a:defRPr sz="2933" i="1">
                <a:solidFill>
                  <a:schemeClr val="bg1"/>
                </a:solidFill>
                <a:latin typeface="Garamond" charset="0"/>
                <a:ea typeface="Garamond" charset="0"/>
                <a:cs typeface="Garamond" charset="0"/>
              </a:defRPr>
            </a:lvl1pPr>
            <a:lvl2pPr marL="731502" indent="-365751">
              <a:buClr>
                <a:schemeClr val="bg1"/>
              </a:buClr>
              <a:buFont typeface="Arial" pitchFamily="34" charset="0"/>
              <a:buChar char="•"/>
              <a:defRPr sz="2933" i="1">
                <a:solidFill>
                  <a:schemeClr val="bg1"/>
                </a:solidFill>
                <a:latin typeface="Garamond" charset="0"/>
                <a:ea typeface="Garamond" charset="0"/>
                <a:cs typeface="Garamond" charset="0"/>
              </a:defRPr>
            </a:lvl2pPr>
            <a:lvl3pPr marL="1097253" indent="-365751">
              <a:buClr>
                <a:schemeClr val="bg1"/>
              </a:buClr>
              <a:buFont typeface="Arial" pitchFamily="34" charset="0"/>
              <a:buChar char="•"/>
              <a:defRPr sz="2933" i="1">
                <a:solidFill>
                  <a:schemeClr val="bg1"/>
                </a:solidFill>
                <a:latin typeface="Garamond" charset="0"/>
                <a:ea typeface="Garamond" charset="0"/>
                <a:cs typeface="Garamond" charset="0"/>
              </a:defRPr>
            </a:lvl3pPr>
            <a:lvl4pPr marL="365751" indent="-365751">
              <a:buClr>
                <a:schemeClr val="accent4"/>
              </a:buClr>
              <a:buFont typeface="Arial" pitchFamily="34" charset="0"/>
              <a:buChar char="•"/>
              <a:defRPr sz="2933">
                <a:latin typeface="+mj-lt"/>
              </a:defRPr>
            </a:lvl4pPr>
            <a:lvl5pPr marL="365751" indent="-365751">
              <a:buClr>
                <a:schemeClr val="accent4"/>
              </a:buClr>
              <a:buFont typeface="Arial" pitchFamily="34" charset="0"/>
              <a:buChar char="•"/>
              <a:defRPr sz="2933">
                <a:latin typeface="+mj-lt"/>
              </a:defRPr>
            </a:lvl5pPr>
          </a:lstStyle>
          <a:p>
            <a:pPr lvl="0"/>
            <a:r>
              <a:rPr lang="nb-NO"/>
              <a:t>Rediger tekststiler i malen
Andre nivå
Tredje nivå
Fjerde nivå
Femte nivå</a:t>
            </a:r>
          </a:p>
        </p:txBody>
      </p:sp>
    </p:spTree>
    <p:extLst>
      <p:ext uri="{BB962C8B-B14F-4D97-AF65-F5344CB8AC3E}">
        <p14:creationId xmlns:p14="http://schemas.microsoft.com/office/powerpoint/2010/main" val="18657086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lfor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291786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5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rgbClr val="FFFFFF"/>
          </a:solidFill>
          <a:ln w="1270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89803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endParaRPr lang="nb-NO" sz="4000" b="1" i="0" baseline="0" err="1">
              <a:latin typeface="Gill Sans" panose="020B0604020202020204" charset="0"/>
              <a:sym typeface="Gill Sans" panose="020B0604020202020204" charset="0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908048" y="1353996"/>
            <a:ext cx="10363200" cy="697541"/>
          </a:xfrm>
        </p:spPr>
        <p:txBody>
          <a:bodyPr tIns="0" bIns="0">
            <a:noAutofit/>
          </a:bodyPr>
          <a:lstStyle>
            <a:lvl1pPr algn="l">
              <a:defRPr sz="4000" b="1">
                <a:solidFill>
                  <a:schemeClr val="tx1"/>
                </a:solidFill>
                <a:latin typeface="Gill Sans" charset="0"/>
                <a:ea typeface="Gill Sans" charset="0"/>
                <a:cs typeface="Gill Sans" charset="0"/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08048" y="2051537"/>
            <a:ext cx="10363200" cy="683184"/>
          </a:xfrm>
        </p:spPr>
        <p:txBody>
          <a:bodyPr tIns="0" bIns="0">
            <a:noAutofit/>
          </a:bodyPr>
          <a:lstStyle>
            <a:lvl1pPr marL="609585" indent="-609585" algn="l">
              <a:spcBef>
                <a:spcPts val="0"/>
              </a:spcBef>
              <a:buClr>
                <a:srgbClr val="FF0506"/>
              </a:buClr>
              <a:buFont typeface="Arial" panose="020B0604020202020204" pitchFamily="34" charset="0"/>
              <a:buChar char="•"/>
              <a:defRPr sz="3467" b="0">
                <a:solidFill>
                  <a:srgbClr val="333F48"/>
                </a:solidFill>
                <a:latin typeface="Garamond" charset="0"/>
                <a:ea typeface="Garamond" charset="0"/>
                <a:cs typeface="Garamond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-12701" y="5600702"/>
            <a:ext cx="12204700" cy="1300877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eaLnBrk="1"/>
            <a:endParaRPr lang="nb-NO" sz="2400">
              <a:solidFill>
                <a:srgbClr val="00963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92458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tellysbilde">
    <p:bg>
      <p:bgPr>
        <a:solidFill>
          <a:schemeClr val="bg1">
            <a:alpha val="89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806244" y="392069"/>
            <a:ext cx="9144000" cy="911941"/>
          </a:xfrm>
        </p:spPr>
        <p:txBody>
          <a:bodyPr anchor="b">
            <a:normAutofit/>
          </a:bodyPr>
          <a:lstStyle>
            <a:lvl1pPr algn="l">
              <a:defRPr sz="4800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5" name="Plassholder for bilde 10">
            <a:extLst>
              <a:ext uri="{FF2B5EF4-FFF2-40B4-BE49-F238E27FC236}">
                <a16:creationId xmlns:a16="http://schemas.microsoft.com/office/drawing/2014/main" id="{C614174E-402A-DB47-A74E-4757B073F33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9832"/>
            <a:ext cx="12192000" cy="6858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b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Click icon to add picture</a:t>
            </a:r>
            <a:endParaRPr lang="nb-NO"/>
          </a:p>
        </p:txBody>
      </p:sp>
      <p:sp>
        <p:nvSpPr>
          <p:cNvPr id="6" name="Undertittel 2">
            <a:extLst>
              <a:ext uri="{FF2B5EF4-FFF2-40B4-BE49-F238E27FC236}">
                <a16:creationId xmlns:a16="http://schemas.microsoft.com/office/drawing/2014/main" id="{09795B0A-6A01-D743-9AFA-ADAA8FABBDF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06244" y="1488597"/>
            <a:ext cx="9144000" cy="102724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nb-NO"/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B98287D9-7F7E-3745-A2D3-041950AC975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B342387-4C64-2345-844A-655F6DE07248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6286766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DCC9B3F-6CB4-4D63-AFAF-7A3419E52F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89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DCC9B3F-6CB4-4D63-AFAF-7A3419E52F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68FEFEA-E2C2-422C-9DE1-FAE10FDD3C6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>
              <a:latin typeface="Garamond" panose="02020404030301010803" pitchFamily="18" charset="0"/>
              <a:ea typeface="+mj-ea"/>
              <a:cs typeface="+mj-cs"/>
              <a:sym typeface="Garamond" panose="02020404030301010803" pitchFamily="18" charset="0"/>
            </a:endParaRPr>
          </a:p>
        </p:txBody>
      </p:sp>
      <p:pic>
        <p:nvPicPr>
          <p:cNvPr id="3" name="Bilde 2">
            <a:extLst>
              <a:ext uri="{FF2B5EF4-FFF2-40B4-BE49-F238E27FC236}">
                <a16:creationId xmlns:a16="http://schemas.microsoft.com/office/drawing/2014/main" id="{53238B15-D42A-C643-B55E-21394B7C57F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l="92734" r="-4" b="14030"/>
          <a:stretch/>
        </p:blipFill>
        <p:spPr>
          <a:xfrm>
            <a:off x="0" y="-726749"/>
            <a:ext cx="627088" cy="8590979"/>
          </a:xfrm>
          <a:prstGeom prst="rect">
            <a:avLst/>
          </a:prstGeom>
        </p:spPr>
      </p:pic>
      <p:sp>
        <p:nvSpPr>
          <p:cNvPr id="8" name="Tittel 1">
            <a:extLst>
              <a:ext uri="{FF2B5EF4-FFF2-40B4-BE49-F238E27FC236}">
                <a16:creationId xmlns:a16="http://schemas.microsoft.com/office/drawing/2014/main" id="{AD74D9C5-0944-4949-AA3E-52FF2AB43B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39309"/>
            <a:ext cx="10515600" cy="1325563"/>
          </a:xfrm>
        </p:spPr>
        <p:txBody>
          <a:bodyPr/>
          <a:lstStyle>
            <a:lvl1pPr algn="l">
              <a:defRPr b="1" i="0" u="none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pic>
        <p:nvPicPr>
          <p:cNvPr id="10" name="Bilde 9">
            <a:extLst>
              <a:ext uri="{FF2B5EF4-FFF2-40B4-BE49-F238E27FC236}">
                <a16:creationId xmlns:a16="http://schemas.microsoft.com/office/drawing/2014/main" id="{49F6FB83-A012-0B4C-94E5-ECD2E6A44CD9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39782" y="453616"/>
            <a:ext cx="628036" cy="728009"/>
          </a:xfrm>
          <a:prstGeom prst="rect">
            <a:avLst/>
          </a:prstGeom>
        </p:spPr>
      </p:pic>
      <p:sp>
        <p:nvSpPr>
          <p:cNvPr id="11" name="Plassholder for innhold 2">
            <a:extLst>
              <a:ext uri="{FF2B5EF4-FFF2-40B4-BE49-F238E27FC236}">
                <a16:creationId xmlns:a16="http://schemas.microsoft.com/office/drawing/2014/main" id="{D8D4C5B4-8BF8-0240-AA6C-FACC859ECBC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699809"/>
            <a:ext cx="10515600" cy="435133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2" name="Plassholder for lysbildenummer 1">
            <a:extLst>
              <a:ext uri="{FF2B5EF4-FFF2-40B4-BE49-F238E27FC236}">
                <a16:creationId xmlns:a16="http://schemas.microsoft.com/office/drawing/2014/main" id="{19784CF6-CAB2-394C-AD56-631D183BD21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342387-4C64-2345-844A-655F6DE07248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91856527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tellysbilde">
    <p:bg>
      <p:bgPr>
        <a:solidFill>
          <a:schemeClr val="bg1">
            <a:alpha val="89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806244" y="392069"/>
            <a:ext cx="9144000" cy="911941"/>
          </a:xfrm>
        </p:spPr>
        <p:txBody>
          <a:bodyPr anchor="b">
            <a:normAutofit/>
          </a:bodyPr>
          <a:lstStyle>
            <a:lvl1pPr algn="l">
              <a:defRPr sz="4800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5" name="Plassholder for bilde 10">
            <a:extLst>
              <a:ext uri="{FF2B5EF4-FFF2-40B4-BE49-F238E27FC236}">
                <a16:creationId xmlns:a16="http://schemas.microsoft.com/office/drawing/2014/main" id="{C614174E-402A-DB47-A74E-4757B073F33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9832"/>
            <a:ext cx="12192000" cy="6858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b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Click icon to add picture</a:t>
            </a:r>
            <a:endParaRPr lang="nb-NO"/>
          </a:p>
        </p:txBody>
      </p:sp>
      <p:sp>
        <p:nvSpPr>
          <p:cNvPr id="6" name="Undertittel 2">
            <a:extLst>
              <a:ext uri="{FF2B5EF4-FFF2-40B4-BE49-F238E27FC236}">
                <a16:creationId xmlns:a16="http://schemas.microsoft.com/office/drawing/2014/main" id="{09795B0A-6A01-D743-9AFA-ADAA8FABBDF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06244" y="1488597"/>
            <a:ext cx="9144000" cy="102724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nb-NO"/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B98287D9-7F7E-3745-A2D3-041950AC975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B342387-4C64-2345-844A-655F6DE07248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6754387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7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2800" b="1" i="0" baseline="0">
              <a:latin typeface="Garamond" panose="02020404030301010803" pitchFamily="18" charset="0"/>
              <a:ea typeface="+mj-ea"/>
              <a:cs typeface="+mj-cs"/>
              <a:sym typeface="Garamond" panose="02020404030301010803" pitchFamily="18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7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1772" y="-1"/>
            <a:ext cx="12213772" cy="9166651"/>
          </a:xfrm>
          <a:prstGeom prst="rect">
            <a:avLst/>
          </a:prstGeom>
        </p:spPr>
      </p:pic>
      <p:pic>
        <p:nvPicPr>
          <p:cNvPr id="3" name="Bilde 2">
            <a:extLst>
              <a:ext uri="{FF2B5EF4-FFF2-40B4-BE49-F238E27FC236}">
                <a16:creationId xmlns:a16="http://schemas.microsoft.com/office/drawing/2014/main" id="{53238B15-D42A-C643-B55E-21394B7C57F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2481" r="-4" b="14030"/>
          <a:stretch/>
        </p:blipFill>
        <p:spPr>
          <a:xfrm>
            <a:off x="-21772" y="-726749"/>
            <a:ext cx="648859" cy="8590979"/>
          </a:xfrm>
          <a:prstGeom prst="rect">
            <a:avLst/>
          </a:prstGeom>
        </p:spPr>
      </p:pic>
      <p:sp>
        <p:nvSpPr>
          <p:cNvPr id="8" name="Tittel 1">
            <a:extLst>
              <a:ext uri="{FF2B5EF4-FFF2-40B4-BE49-F238E27FC236}">
                <a16:creationId xmlns:a16="http://schemas.microsoft.com/office/drawing/2014/main" id="{AD74D9C5-0944-4949-AA3E-52FF2AB43B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39309"/>
            <a:ext cx="10515600" cy="1325563"/>
          </a:xfrm>
        </p:spPr>
        <p:txBody>
          <a:bodyPr/>
          <a:lstStyle>
            <a:lvl1pPr algn="l">
              <a:defRPr b="1" i="0" u="none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pic>
        <p:nvPicPr>
          <p:cNvPr id="10" name="Bilde 9">
            <a:extLst>
              <a:ext uri="{FF2B5EF4-FFF2-40B4-BE49-F238E27FC236}">
                <a16:creationId xmlns:a16="http://schemas.microsoft.com/office/drawing/2014/main" id="{49F6FB83-A012-0B4C-94E5-ECD2E6A44CD9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39782" y="453616"/>
            <a:ext cx="628036" cy="728009"/>
          </a:xfrm>
          <a:prstGeom prst="rect">
            <a:avLst/>
          </a:prstGeom>
        </p:spPr>
      </p:pic>
      <p:sp>
        <p:nvSpPr>
          <p:cNvPr id="11" name="Plassholder for innhold 2">
            <a:extLst>
              <a:ext uri="{FF2B5EF4-FFF2-40B4-BE49-F238E27FC236}">
                <a16:creationId xmlns:a16="http://schemas.microsoft.com/office/drawing/2014/main" id="{D8D4C5B4-8BF8-0240-AA6C-FACC859ECBC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699809"/>
            <a:ext cx="10515600" cy="435133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2" name="Plassholder for lysbildenummer 1">
            <a:extLst>
              <a:ext uri="{FF2B5EF4-FFF2-40B4-BE49-F238E27FC236}">
                <a16:creationId xmlns:a16="http://schemas.microsoft.com/office/drawing/2014/main" id="{19784CF6-CAB2-394C-AD56-631D183BD21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342387-4C64-2345-844A-655F6DE07248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0076355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1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800" b="1" i="0" baseline="0">
              <a:latin typeface="Garamond" panose="02020404030301010803" pitchFamily="18" charset="0"/>
              <a:ea typeface="+mj-ea"/>
              <a:cs typeface="+mj-cs"/>
              <a:sym typeface="Garamond" panose="02020404030301010803" pitchFamily="18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8750" y="-635001"/>
            <a:ext cx="12033250" cy="8022167"/>
          </a:xfrm>
          <a:prstGeom prst="rect">
            <a:avLst/>
          </a:prstGeom>
        </p:spPr>
      </p:pic>
      <p:pic>
        <p:nvPicPr>
          <p:cNvPr id="3" name="Bilde 2">
            <a:extLst>
              <a:ext uri="{FF2B5EF4-FFF2-40B4-BE49-F238E27FC236}">
                <a16:creationId xmlns:a16="http://schemas.microsoft.com/office/drawing/2014/main" id="{53238B15-D42A-C643-B55E-21394B7C57F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2481" r="-4" b="14030"/>
          <a:stretch/>
        </p:blipFill>
        <p:spPr>
          <a:xfrm>
            <a:off x="-21772" y="-726749"/>
            <a:ext cx="648859" cy="8590979"/>
          </a:xfrm>
          <a:prstGeom prst="rect">
            <a:avLst/>
          </a:prstGeom>
        </p:spPr>
      </p:pic>
      <p:sp>
        <p:nvSpPr>
          <p:cNvPr id="8" name="Tittel 1">
            <a:extLst>
              <a:ext uri="{FF2B5EF4-FFF2-40B4-BE49-F238E27FC236}">
                <a16:creationId xmlns:a16="http://schemas.microsoft.com/office/drawing/2014/main" id="{AD74D9C5-0944-4949-AA3E-52FF2AB43B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39309"/>
            <a:ext cx="10515600" cy="1325563"/>
          </a:xfrm>
        </p:spPr>
        <p:txBody>
          <a:bodyPr/>
          <a:lstStyle>
            <a:lvl1pPr algn="l">
              <a:defRPr b="1" i="0" u="none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pic>
        <p:nvPicPr>
          <p:cNvPr id="10" name="Bilde 9">
            <a:extLst>
              <a:ext uri="{FF2B5EF4-FFF2-40B4-BE49-F238E27FC236}">
                <a16:creationId xmlns:a16="http://schemas.microsoft.com/office/drawing/2014/main" id="{49F6FB83-A012-0B4C-94E5-ECD2E6A44CD9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39782" y="453616"/>
            <a:ext cx="628036" cy="728009"/>
          </a:xfrm>
          <a:prstGeom prst="rect">
            <a:avLst/>
          </a:prstGeom>
        </p:spPr>
      </p:pic>
      <p:sp>
        <p:nvSpPr>
          <p:cNvPr id="11" name="Plassholder for innhold 2">
            <a:extLst>
              <a:ext uri="{FF2B5EF4-FFF2-40B4-BE49-F238E27FC236}">
                <a16:creationId xmlns:a16="http://schemas.microsoft.com/office/drawing/2014/main" id="{D8D4C5B4-8BF8-0240-AA6C-FACC859ECBC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699809"/>
            <a:ext cx="10515600" cy="435133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2" name="Plassholder for lysbildenummer 1">
            <a:extLst>
              <a:ext uri="{FF2B5EF4-FFF2-40B4-BE49-F238E27FC236}">
                <a16:creationId xmlns:a16="http://schemas.microsoft.com/office/drawing/2014/main" id="{19784CF6-CAB2-394C-AD56-631D183BD21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342387-4C64-2345-844A-655F6DE07248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7196950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med bilde">
    <p:bg>
      <p:bgPr>
        <a:solidFill>
          <a:schemeClr val="bg1">
            <a:alpha val="89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831246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rgbClr val="FFFFFF"/>
          </a:solidFill>
          <a:ln w="1270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89803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endParaRPr lang="nb-NO" sz="4000" b="1" i="0" baseline="0" err="1">
              <a:latin typeface="Garamond" panose="02020404030301010803" pitchFamily="18" charset="0"/>
              <a:ea typeface="+mj-ea"/>
              <a:cs typeface="+mj-cs"/>
              <a:sym typeface="Garamond" panose="02020404030301010803" pitchFamily="18" charset="0"/>
            </a:endParaRPr>
          </a:p>
        </p:txBody>
      </p:sp>
      <p:sp>
        <p:nvSpPr>
          <p:cNvPr id="5" name="Plassholder for bilde 10">
            <a:extLst>
              <a:ext uri="{FF2B5EF4-FFF2-40B4-BE49-F238E27FC236}">
                <a16:creationId xmlns:a16="http://schemas.microsoft.com/office/drawing/2014/main" id="{C614174E-402A-DB47-A74E-4757B073F33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-45413"/>
            <a:ext cx="12192000" cy="4617414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b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618259" y="4990014"/>
            <a:ext cx="10035927" cy="939721"/>
          </a:xfrm>
        </p:spPr>
        <p:txBody>
          <a:bodyPr anchor="b">
            <a:normAutofit/>
          </a:bodyPr>
          <a:lstStyle>
            <a:lvl1pPr algn="l">
              <a:defRPr sz="40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6" name="Undertittel 2">
            <a:extLst>
              <a:ext uri="{FF2B5EF4-FFF2-40B4-BE49-F238E27FC236}">
                <a16:creationId xmlns:a16="http://schemas.microsoft.com/office/drawing/2014/main" id="{09795B0A-6A01-D743-9AFA-ADAA8FABBDF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18260" y="5929736"/>
            <a:ext cx="10035926" cy="56848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2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49F6FB83-A012-0B4C-94E5-ECD2E6A44CD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24327" y="5136229"/>
            <a:ext cx="915898" cy="1061694"/>
          </a:xfrm>
          <a:prstGeom prst="rect">
            <a:avLst/>
          </a:prstGeom>
        </p:spPr>
      </p:pic>
      <p:pic>
        <p:nvPicPr>
          <p:cNvPr id="10" name="Bilde 9">
            <a:extLst>
              <a:ext uri="{FF2B5EF4-FFF2-40B4-BE49-F238E27FC236}">
                <a16:creationId xmlns:a16="http://schemas.microsoft.com/office/drawing/2014/main" id="{84DCA5A0-DAAF-8A4D-BBAC-52733E00477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1993"/>
          <a:stretch/>
        </p:blipFill>
        <p:spPr>
          <a:xfrm>
            <a:off x="-9831" y="1750175"/>
            <a:ext cx="1086198" cy="33128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79756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5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2800" b="1" i="0" baseline="0">
              <a:latin typeface="Garamond" panose="02020404030301010803" pitchFamily="18" charset="0"/>
              <a:ea typeface="+mj-ea"/>
              <a:cs typeface="+mj-cs"/>
              <a:sym typeface="Garamond" panose="02020404030301010803" pitchFamily="18" charset="0"/>
            </a:endParaRPr>
          </a:p>
        </p:txBody>
      </p:sp>
      <p:pic>
        <p:nvPicPr>
          <p:cNvPr id="3" name="Bilde 2">
            <a:extLst>
              <a:ext uri="{FF2B5EF4-FFF2-40B4-BE49-F238E27FC236}">
                <a16:creationId xmlns:a16="http://schemas.microsoft.com/office/drawing/2014/main" id="{53238B15-D42A-C643-B55E-21394B7C57F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2481" r="-4" b="14030"/>
          <a:stretch/>
        </p:blipFill>
        <p:spPr>
          <a:xfrm>
            <a:off x="-21772" y="-726749"/>
            <a:ext cx="648859" cy="8590979"/>
          </a:xfrm>
          <a:prstGeom prst="rect">
            <a:avLst/>
          </a:prstGeom>
        </p:spPr>
      </p:pic>
      <p:sp>
        <p:nvSpPr>
          <p:cNvPr id="8" name="Tittel 1">
            <a:extLst>
              <a:ext uri="{FF2B5EF4-FFF2-40B4-BE49-F238E27FC236}">
                <a16:creationId xmlns:a16="http://schemas.microsoft.com/office/drawing/2014/main" id="{AD74D9C5-0944-4949-AA3E-52FF2AB43B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39309"/>
            <a:ext cx="10515600" cy="1325563"/>
          </a:xfrm>
        </p:spPr>
        <p:txBody>
          <a:bodyPr/>
          <a:lstStyle>
            <a:lvl1pPr algn="l">
              <a:defRPr b="1" i="0" u="none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pic>
        <p:nvPicPr>
          <p:cNvPr id="10" name="Bilde 9">
            <a:extLst>
              <a:ext uri="{FF2B5EF4-FFF2-40B4-BE49-F238E27FC236}">
                <a16:creationId xmlns:a16="http://schemas.microsoft.com/office/drawing/2014/main" id="{49F6FB83-A012-0B4C-94E5-ECD2E6A44CD9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39782" y="453616"/>
            <a:ext cx="628036" cy="728009"/>
          </a:xfrm>
          <a:prstGeom prst="rect">
            <a:avLst/>
          </a:prstGeom>
        </p:spPr>
      </p:pic>
      <p:sp>
        <p:nvSpPr>
          <p:cNvPr id="11" name="Plassholder for innhold 2">
            <a:extLst>
              <a:ext uri="{FF2B5EF4-FFF2-40B4-BE49-F238E27FC236}">
                <a16:creationId xmlns:a16="http://schemas.microsoft.com/office/drawing/2014/main" id="{D8D4C5B4-8BF8-0240-AA6C-FACC859ECBC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699809"/>
            <a:ext cx="10515600" cy="435133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2" name="Plassholder for lysbildenummer 1">
            <a:extLst>
              <a:ext uri="{FF2B5EF4-FFF2-40B4-BE49-F238E27FC236}">
                <a16:creationId xmlns:a16="http://schemas.microsoft.com/office/drawing/2014/main" id="{19784CF6-CAB2-394C-AD56-631D183BD21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342387-4C64-2345-844A-655F6DE07248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4028702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09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800" b="1" i="0" baseline="0">
              <a:latin typeface="Garamond" panose="02020404030301010803" pitchFamily="18" charset="0"/>
              <a:ea typeface="+mj-ea"/>
              <a:cs typeface="+mj-cs"/>
              <a:sym typeface="Garamond" panose="02020404030301010803" pitchFamily="18" charset="0"/>
            </a:endParaRPr>
          </a:p>
        </p:txBody>
      </p:sp>
      <p:pic>
        <p:nvPicPr>
          <p:cNvPr id="12" name="Picture 11" descr="A picture containing wall, snow, outdoor, building&#10;&#10;Description generated with high confidence">
            <a:extLst>
              <a:ext uri="{FF2B5EF4-FFF2-40B4-BE49-F238E27FC236}">
                <a16:creationId xmlns:a16="http://schemas.microsoft.com/office/drawing/2014/main" id="{BBA9517B-00AC-4BE8-AD2C-2933D2E348F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duotone>
              <a:schemeClr val="bg2">
                <a:shade val="45000"/>
                <a:satMod val="135000"/>
              </a:schemeClr>
              <a:prstClr val="white"/>
            </a:duotone>
          </a:blip>
          <a:srcRect b="15896"/>
          <a:stretch/>
        </p:blipFill>
        <p:spPr>
          <a:xfrm>
            <a:off x="-21772" y="-1"/>
            <a:ext cx="12213772" cy="6858001"/>
          </a:xfrm>
          <a:prstGeom prst="rect">
            <a:avLst/>
          </a:prstGeom>
        </p:spPr>
      </p:pic>
      <p:pic>
        <p:nvPicPr>
          <p:cNvPr id="3" name="Bilde 2">
            <a:extLst>
              <a:ext uri="{FF2B5EF4-FFF2-40B4-BE49-F238E27FC236}">
                <a16:creationId xmlns:a16="http://schemas.microsoft.com/office/drawing/2014/main" id="{53238B15-D42A-C643-B55E-21394B7C57F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2481" r="-4" b="14030"/>
          <a:stretch/>
        </p:blipFill>
        <p:spPr>
          <a:xfrm>
            <a:off x="-21772" y="-726749"/>
            <a:ext cx="648859" cy="8590979"/>
          </a:xfrm>
          <a:prstGeom prst="rect">
            <a:avLst/>
          </a:prstGeom>
        </p:spPr>
      </p:pic>
      <p:sp>
        <p:nvSpPr>
          <p:cNvPr id="8" name="Tittel 1">
            <a:extLst>
              <a:ext uri="{FF2B5EF4-FFF2-40B4-BE49-F238E27FC236}">
                <a16:creationId xmlns:a16="http://schemas.microsoft.com/office/drawing/2014/main" id="{AD74D9C5-0944-4949-AA3E-52FF2AB43B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39309"/>
            <a:ext cx="10515600" cy="1325563"/>
          </a:xfrm>
        </p:spPr>
        <p:txBody>
          <a:bodyPr/>
          <a:lstStyle>
            <a:lvl1pPr algn="l">
              <a:defRPr b="1" i="0" u="none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pic>
        <p:nvPicPr>
          <p:cNvPr id="10" name="Bilde 9">
            <a:extLst>
              <a:ext uri="{FF2B5EF4-FFF2-40B4-BE49-F238E27FC236}">
                <a16:creationId xmlns:a16="http://schemas.microsoft.com/office/drawing/2014/main" id="{49F6FB83-A012-0B4C-94E5-ECD2E6A44CD9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39782" y="453616"/>
            <a:ext cx="628036" cy="728009"/>
          </a:xfrm>
          <a:prstGeom prst="rect">
            <a:avLst/>
          </a:prstGeom>
        </p:spPr>
      </p:pic>
      <p:sp>
        <p:nvSpPr>
          <p:cNvPr id="11" name="Plassholder for innhold 2">
            <a:extLst>
              <a:ext uri="{FF2B5EF4-FFF2-40B4-BE49-F238E27FC236}">
                <a16:creationId xmlns:a16="http://schemas.microsoft.com/office/drawing/2014/main" id="{D8D4C5B4-8BF8-0240-AA6C-FACC859ECBC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699809"/>
            <a:ext cx="10515600" cy="435133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2" name="Plassholder for lysbildenummer 1">
            <a:extLst>
              <a:ext uri="{FF2B5EF4-FFF2-40B4-BE49-F238E27FC236}">
                <a16:creationId xmlns:a16="http://schemas.microsoft.com/office/drawing/2014/main" id="{19784CF6-CAB2-394C-AD56-631D183BD21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342387-4C64-2345-844A-655F6DE07248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52344401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3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800" b="1" i="0" baseline="0">
              <a:latin typeface="Garamond" panose="02020404030301010803" pitchFamily="18" charset="0"/>
              <a:ea typeface="+mj-ea"/>
              <a:cs typeface="+mj-cs"/>
              <a:sym typeface="Garamond" panose="02020404030301010803" pitchFamily="18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F2C24F1-8BA7-43B6-93D4-16C08377882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75" y="0"/>
            <a:ext cx="12485557" cy="6931668"/>
          </a:xfrm>
          <a:prstGeom prst="rect">
            <a:avLst/>
          </a:prstGeom>
        </p:spPr>
      </p:pic>
      <p:pic>
        <p:nvPicPr>
          <p:cNvPr id="3" name="Bilde 2">
            <a:extLst>
              <a:ext uri="{FF2B5EF4-FFF2-40B4-BE49-F238E27FC236}">
                <a16:creationId xmlns:a16="http://schemas.microsoft.com/office/drawing/2014/main" id="{53238B15-D42A-C643-B55E-21394B7C57F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2481" r="-4" b="14030"/>
          <a:stretch/>
        </p:blipFill>
        <p:spPr>
          <a:xfrm>
            <a:off x="-21772" y="-726749"/>
            <a:ext cx="648859" cy="8590979"/>
          </a:xfrm>
          <a:prstGeom prst="rect">
            <a:avLst/>
          </a:prstGeom>
        </p:spPr>
      </p:pic>
      <p:sp>
        <p:nvSpPr>
          <p:cNvPr id="8" name="Tittel 1">
            <a:extLst>
              <a:ext uri="{FF2B5EF4-FFF2-40B4-BE49-F238E27FC236}">
                <a16:creationId xmlns:a16="http://schemas.microsoft.com/office/drawing/2014/main" id="{AD74D9C5-0944-4949-AA3E-52FF2AB43B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39309"/>
            <a:ext cx="10515600" cy="1325563"/>
          </a:xfrm>
        </p:spPr>
        <p:txBody>
          <a:bodyPr/>
          <a:lstStyle>
            <a:lvl1pPr algn="l">
              <a:defRPr b="1" i="0" u="none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pic>
        <p:nvPicPr>
          <p:cNvPr id="10" name="Bilde 9">
            <a:extLst>
              <a:ext uri="{FF2B5EF4-FFF2-40B4-BE49-F238E27FC236}">
                <a16:creationId xmlns:a16="http://schemas.microsoft.com/office/drawing/2014/main" id="{49F6FB83-A012-0B4C-94E5-ECD2E6A44CD9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39782" y="453616"/>
            <a:ext cx="628036" cy="728009"/>
          </a:xfrm>
          <a:prstGeom prst="rect">
            <a:avLst/>
          </a:prstGeom>
        </p:spPr>
      </p:pic>
      <p:sp>
        <p:nvSpPr>
          <p:cNvPr id="11" name="Plassholder for innhold 2">
            <a:extLst>
              <a:ext uri="{FF2B5EF4-FFF2-40B4-BE49-F238E27FC236}">
                <a16:creationId xmlns:a16="http://schemas.microsoft.com/office/drawing/2014/main" id="{D8D4C5B4-8BF8-0240-AA6C-FACC859ECBC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699809"/>
            <a:ext cx="10515600" cy="435133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2" name="Plassholder for lysbildenummer 1">
            <a:extLst>
              <a:ext uri="{FF2B5EF4-FFF2-40B4-BE49-F238E27FC236}">
                <a16:creationId xmlns:a16="http://schemas.microsoft.com/office/drawing/2014/main" id="{19784CF6-CAB2-394C-AD56-631D183BD21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342387-4C64-2345-844A-655F6DE07248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50976720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7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800" b="1" i="0" baseline="0">
              <a:latin typeface="Garamond" panose="02020404030301010803" pitchFamily="18" charset="0"/>
              <a:ea typeface="+mj-ea"/>
              <a:cs typeface="+mj-cs"/>
              <a:sym typeface="Garamond" panose="02020404030301010803" pitchFamily="18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972F8F4-285D-44A3-A0F1-507ED1DEB54E}"/>
              </a:ext>
            </a:extLst>
          </p:cNvPr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 rotWithShape="1">
          <a:blip r:embed="rId8">
            <a:lum bright="70000" contrast="-70000"/>
          </a:blip>
          <a:srcRect t="5493" r="8032" b="16737"/>
          <a:stretch/>
        </p:blipFill>
        <p:spPr>
          <a:xfrm flipH="1">
            <a:off x="-21772" y="0"/>
            <a:ext cx="12213772" cy="6858000"/>
          </a:xfrm>
          <a:prstGeom prst="rect">
            <a:avLst/>
          </a:prstGeom>
        </p:spPr>
      </p:pic>
      <p:pic>
        <p:nvPicPr>
          <p:cNvPr id="3" name="Bilde 2">
            <a:extLst>
              <a:ext uri="{FF2B5EF4-FFF2-40B4-BE49-F238E27FC236}">
                <a16:creationId xmlns:a16="http://schemas.microsoft.com/office/drawing/2014/main" id="{53238B15-D42A-C643-B55E-21394B7C57F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2481" r="-4" b="14030"/>
          <a:stretch/>
        </p:blipFill>
        <p:spPr>
          <a:xfrm>
            <a:off x="-21772" y="-726749"/>
            <a:ext cx="648859" cy="8590979"/>
          </a:xfrm>
          <a:prstGeom prst="rect">
            <a:avLst/>
          </a:prstGeom>
        </p:spPr>
      </p:pic>
      <p:sp>
        <p:nvSpPr>
          <p:cNvPr id="8" name="Tittel 1">
            <a:extLst>
              <a:ext uri="{FF2B5EF4-FFF2-40B4-BE49-F238E27FC236}">
                <a16:creationId xmlns:a16="http://schemas.microsoft.com/office/drawing/2014/main" id="{AD74D9C5-0944-4949-AA3E-52FF2AB43B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39309"/>
            <a:ext cx="10515600" cy="1325563"/>
          </a:xfrm>
        </p:spPr>
        <p:txBody>
          <a:bodyPr/>
          <a:lstStyle>
            <a:lvl1pPr algn="l">
              <a:defRPr b="1" i="0" u="none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pic>
        <p:nvPicPr>
          <p:cNvPr id="10" name="Bilde 9">
            <a:extLst>
              <a:ext uri="{FF2B5EF4-FFF2-40B4-BE49-F238E27FC236}">
                <a16:creationId xmlns:a16="http://schemas.microsoft.com/office/drawing/2014/main" id="{49F6FB83-A012-0B4C-94E5-ECD2E6A44CD9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39782" y="453616"/>
            <a:ext cx="628036" cy="728009"/>
          </a:xfrm>
          <a:prstGeom prst="rect">
            <a:avLst/>
          </a:prstGeom>
        </p:spPr>
      </p:pic>
      <p:sp>
        <p:nvSpPr>
          <p:cNvPr id="11" name="Plassholder for innhold 2">
            <a:extLst>
              <a:ext uri="{FF2B5EF4-FFF2-40B4-BE49-F238E27FC236}">
                <a16:creationId xmlns:a16="http://schemas.microsoft.com/office/drawing/2014/main" id="{D8D4C5B4-8BF8-0240-AA6C-FACC859ECBC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699809"/>
            <a:ext cx="10515600" cy="435133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2" name="Plassholder for lysbildenummer 1">
            <a:extLst>
              <a:ext uri="{FF2B5EF4-FFF2-40B4-BE49-F238E27FC236}">
                <a16:creationId xmlns:a16="http://schemas.microsoft.com/office/drawing/2014/main" id="{19784CF6-CAB2-394C-AD56-631D183BD21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342387-4C64-2345-844A-655F6DE07248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06627228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1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800" b="1" i="0" baseline="0">
              <a:latin typeface="Garamond" panose="02020404030301010803" pitchFamily="18" charset="0"/>
              <a:ea typeface="+mj-ea"/>
              <a:cs typeface="+mj-cs"/>
              <a:sym typeface="Garamond" panose="02020404030301010803" pitchFamily="18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0169F13A-FA5C-4C97-8EB9-7A9CBF85CA55}"/>
              </a:ext>
            </a:extLst>
          </p:cNvPr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 rotWithShape="1">
          <a:blip r:embed="rId8" cstate="email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4533"/>
          <a:stretch/>
        </p:blipFill>
        <p:spPr>
          <a:xfrm>
            <a:off x="0" y="-86994"/>
            <a:ext cx="12192000" cy="6944994"/>
          </a:xfrm>
          <a:prstGeom prst="rect">
            <a:avLst/>
          </a:prstGeom>
        </p:spPr>
      </p:pic>
      <p:pic>
        <p:nvPicPr>
          <p:cNvPr id="3" name="Bilde 2">
            <a:extLst>
              <a:ext uri="{FF2B5EF4-FFF2-40B4-BE49-F238E27FC236}">
                <a16:creationId xmlns:a16="http://schemas.microsoft.com/office/drawing/2014/main" id="{53238B15-D42A-C643-B55E-21394B7C57F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2481" r="-4" b="14030"/>
          <a:stretch/>
        </p:blipFill>
        <p:spPr>
          <a:xfrm>
            <a:off x="-21772" y="-726749"/>
            <a:ext cx="648859" cy="8590979"/>
          </a:xfrm>
          <a:prstGeom prst="rect">
            <a:avLst/>
          </a:prstGeom>
        </p:spPr>
      </p:pic>
      <p:sp>
        <p:nvSpPr>
          <p:cNvPr id="8" name="Tittel 1">
            <a:extLst>
              <a:ext uri="{FF2B5EF4-FFF2-40B4-BE49-F238E27FC236}">
                <a16:creationId xmlns:a16="http://schemas.microsoft.com/office/drawing/2014/main" id="{AD74D9C5-0944-4949-AA3E-52FF2AB43B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39309"/>
            <a:ext cx="10515600" cy="1325563"/>
          </a:xfrm>
        </p:spPr>
        <p:txBody>
          <a:bodyPr/>
          <a:lstStyle>
            <a:lvl1pPr algn="l">
              <a:defRPr b="1" i="0" u="none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pic>
        <p:nvPicPr>
          <p:cNvPr id="10" name="Bilde 9">
            <a:extLst>
              <a:ext uri="{FF2B5EF4-FFF2-40B4-BE49-F238E27FC236}">
                <a16:creationId xmlns:a16="http://schemas.microsoft.com/office/drawing/2014/main" id="{49F6FB83-A012-0B4C-94E5-ECD2E6A44CD9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39782" y="453616"/>
            <a:ext cx="628036" cy="728009"/>
          </a:xfrm>
          <a:prstGeom prst="rect">
            <a:avLst/>
          </a:prstGeom>
        </p:spPr>
      </p:pic>
      <p:sp>
        <p:nvSpPr>
          <p:cNvPr id="11" name="Plassholder for innhold 2">
            <a:extLst>
              <a:ext uri="{FF2B5EF4-FFF2-40B4-BE49-F238E27FC236}">
                <a16:creationId xmlns:a16="http://schemas.microsoft.com/office/drawing/2014/main" id="{D8D4C5B4-8BF8-0240-AA6C-FACC859ECBC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699809"/>
            <a:ext cx="10515600" cy="435133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2" name="Plassholder for lysbildenummer 1">
            <a:extLst>
              <a:ext uri="{FF2B5EF4-FFF2-40B4-BE49-F238E27FC236}">
                <a16:creationId xmlns:a16="http://schemas.microsoft.com/office/drawing/2014/main" id="{19784CF6-CAB2-394C-AD56-631D183BD21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342387-4C64-2345-844A-655F6DE07248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79665014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5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2800" b="1" i="0" baseline="0">
              <a:latin typeface="Garamond" panose="02020404030301010803" pitchFamily="18" charset="0"/>
              <a:ea typeface="+mj-ea"/>
              <a:cs typeface="+mj-cs"/>
              <a:sym typeface="Garamond" panose="02020404030301010803" pitchFamily="18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 rotWithShape="1">
          <a:blip r:embed="rId8" cstate="email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8125968"/>
          </a:xfrm>
          <a:prstGeom prst="rect">
            <a:avLst/>
          </a:prstGeom>
        </p:spPr>
      </p:pic>
      <p:pic>
        <p:nvPicPr>
          <p:cNvPr id="3" name="Bilde 2">
            <a:extLst>
              <a:ext uri="{FF2B5EF4-FFF2-40B4-BE49-F238E27FC236}">
                <a16:creationId xmlns:a16="http://schemas.microsoft.com/office/drawing/2014/main" id="{53238B15-D42A-C643-B55E-21394B7C57F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2481" r="-4" b="14030"/>
          <a:stretch/>
        </p:blipFill>
        <p:spPr>
          <a:xfrm>
            <a:off x="-21772" y="-726749"/>
            <a:ext cx="648859" cy="8590979"/>
          </a:xfrm>
          <a:prstGeom prst="rect">
            <a:avLst/>
          </a:prstGeom>
        </p:spPr>
      </p:pic>
      <p:sp>
        <p:nvSpPr>
          <p:cNvPr id="8" name="Tittel 1">
            <a:extLst>
              <a:ext uri="{FF2B5EF4-FFF2-40B4-BE49-F238E27FC236}">
                <a16:creationId xmlns:a16="http://schemas.microsoft.com/office/drawing/2014/main" id="{AD74D9C5-0944-4949-AA3E-52FF2AB43B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39309"/>
            <a:ext cx="10515600" cy="1325563"/>
          </a:xfrm>
        </p:spPr>
        <p:txBody>
          <a:bodyPr/>
          <a:lstStyle>
            <a:lvl1pPr algn="l">
              <a:defRPr b="1" i="0" u="none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pic>
        <p:nvPicPr>
          <p:cNvPr id="10" name="Bilde 9">
            <a:extLst>
              <a:ext uri="{FF2B5EF4-FFF2-40B4-BE49-F238E27FC236}">
                <a16:creationId xmlns:a16="http://schemas.microsoft.com/office/drawing/2014/main" id="{49F6FB83-A012-0B4C-94E5-ECD2E6A44CD9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39782" y="453616"/>
            <a:ext cx="628036" cy="728009"/>
          </a:xfrm>
          <a:prstGeom prst="rect">
            <a:avLst/>
          </a:prstGeom>
        </p:spPr>
      </p:pic>
      <p:sp>
        <p:nvSpPr>
          <p:cNvPr id="11" name="Plassholder for innhold 2">
            <a:extLst>
              <a:ext uri="{FF2B5EF4-FFF2-40B4-BE49-F238E27FC236}">
                <a16:creationId xmlns:a16="http://schemas.microsoft.com/office/drawing/2014/main" id="{D8D4C5B4-8BF8-0240-AA6C-FACC859ECBC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699809"/>
            <a:ext cx="10515600" cy="435133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2" name="Plassholder for lysbildenummer 1">
            <a:extLst>
              <a:ext uri="{FF2B5EF4-FFF2-40B4-BE49-F238E27FC236}">
                <a16:creationId xmlns:a16="http://schemas.microsoft.com/office/drawing/2014/main" id="{19784CF6-CAB2-394C-AD56-631D183BD21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342387-4C64-2345-844A-655F6DE07248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97361643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29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2800" b="1" i="0" baseline="0">
              <a:latin typeface="Garamond" panose="02020404030301010803" pitchFamily="18" charset="0"/>
              <a:ea typeface="+mj-ea"/>
              <a:cs typeface="+mj-cs"/>
              <a:sym typeface="Garamond" panose="02020404030301010803" pitchFamily="18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 rotWithShape="1">
          <a:blip r:embed="rId8" cstate="email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8125968"/>
          </a:xfrm>
          <a:prstGeom prst="rect">
            <a:avLst/>
          </a:prstGeom>
        </p:spPr>
      </p:pic>
      <p:pic>
        <p:nvPicPr>
          <p:cNvPr id="3" name="Bilde 2">
            <a:extLst>
              <a:ext uri="{FF2B5EF4-FFF2-40B4-BE49-F238E27FC236}">
                <a16:creationId xmlns:a16="http://schemas.microsoft.com/office/drawing/2014/main" id="{53238B15-D42A-C643-B55E-21394B7C57F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2481" r="-4" b="14030"/>
          <a:stretch/>
        </p:blipFill>
        <p:spPr>
          <a:xfrm>
            <a:off x="-21772" y="-726749"/>
            <a:ext cx="648859" cy="8590979"/>
          </a:xfrm>
          <a:prstGeom prst="rect">
            <a:avLst/>
          </a:prstGeom>
        </p:spPr>
      </p:pic>
      <p:sp>
        <p:nvSpPr>
          <p:cNvPr id="8" name="Tittel 1">
            <a:extLst>
              <a:ext uri="{FF2B5EF4-FFF2-40B4-BE49-F238E27FC236}">
                <a16:creationId xmlns:a16="http://schemas.microsoft.com/office/drawing/2014/main" id="{AD74D9C5-0944-4949-AA3E-52FF2AB43B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39309"/>
            <a:ext cx="10515600" cy="1325563"/>
          </a:xfrm>
        </p:spPr>
        <p:txBody>
          <a:bodyPr/>
          <a:lstStyle>
            <a:lvl1pPr algn="l">
              <a:defRPr b="1" i="0" u="none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pic>
        <p:nvPicPr>
          <p:cNvPr id="10" name="Bilde 9">
            <a:extLst>
              <a:ext uri="{FF2B5EF4-FFF2-40B4-BE49-F238E27FC236}">
                <a16:creationId xmlns:a16="http://schemas.microsoft.com/office/drawing/2014/main" id="{49F6FB83-A012-0B4C-94E5-ECD2E6A44CD9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39782" y="453616"/>
            <a:ext cx="628036" cy="728009"/>
          </a:xfrm>
          <a:prstGeom prst="rect">
            <a:avLst/>
          </a:prstGeom>
        </p:spPr>
      </p:pic>
      <p:sp>
        <p:nvSpPr>
          <p:cNvPr id="11" name="Plassholder for innhold 2">
            <a:extLst>
              <a:ext uri="{FF2B5EF4-FFF2-40B4-BE49-F238E27FC236}">
                <a16:creationId xmlns:a16="http://schemas.microsoft.com/office/drawing/2014/main" id="{D8D4C5B4-8BF8-0240-AA6C-FACC859ECBC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699809"/>
            <a:ext cx="10515600" cy="435133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2" name="Plassholder for lysbildenummer 1">
            <a:extLst>
              <a:ext uri="{FF2B5EF4-FFF2-40B4-BE49-F238E27FC236}">
                <a16:creationId xmlns:a16="http://schemas.microsoft.com/office/drawing/2014/main" id="{19784CF6-CAB2-394C-AD56-631D183BD21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342387-4C64-2345-844A-655F6DE07248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73175948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3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800" b="1" i="0" baseline="0">
              <a:latin typeface="Garamond" panose="02020404030301010803" pitchFamily="18" charset="0"/>
              <a:ea typeface="+mj-ea"/>
              <a:cs typeface="+mj-cs"/>
              <a:sym typeface="Garamond" panose="02020404030301010803" pitchFamily="18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87D3B6-27DA-415F-BBAD-F3DE355C9CF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6207" y="-573897"/>
            <a:ext cx="12008693" cy="8005795"/>
          </a:xfrm>
          <a:prstGeom prst="rect">
            <a:avLst/>
          </a:prstGeom>
        </p:spPr>
      </p:pic>
      <p:pic>
        <p:nvPicPr>
          <p:cNvPr id="3" name="Bilde 2">
            <a:extLst>
              <a:ext uri="{FF2B5EF4-FFF2-40B4-BE49-F238E27FC236}">
                <a16:creationId xmlns:a16="http://schemas.microsoft.com/office/drawing/2014/main" id="{53238B15-D42A-C643-B55E-21394B7C57F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678" r="-4" b="14030"/>
          <a:stretch/>
        </p:blipFill>
        <p:spPr>
          <a:xfrm>
            <a:off x="-8143286" y="-726749"/>
            <a:ext cx="8770374" cy="8590979"/>
          </a:xfrm>
          <a:prstGeom prst="rect">
            <a:avLst/>
          </a:prstGeom>
        </p:spPr>
      </p:pic>
      <p:sp>
        <p:nvSpPr>
          <p:cNvPr id="8" name="Tittel 1">
            <a:extLst>
              <a:ext uri="{FF2B5EF4-FFF2-40B4-BE49-F238E27FC236}">
                <a16:creationId xmlns:a16="http://schemas.microsoft.com/office/drawing/2014/main" id="{AD74D9C5-0944-4949-AA3E-52FF2AB43B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39309"/>
            <a:ext cx="10515600" cy="1325563"/>
          </a:xfrm>
        </p:spPr>
        <p:txBody>
          <a:bodyPr/>
          <a:lstStyle>
            <a:lvl1pPr algn="l">
              <a:defRPr b="1" i="0" u="none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pic>
        <p:nvPicPr>
          <p:cNvPr id="10" name="Bilde 9">
            <a:extLst>
              <a:ext uri="{FF2B5EF4-FFF2-40B4-BE49-F238E27FC236}">
                <a16:creationId xmlns:a16="http://schemas.microsoft.com/office/drawing/2014/main" id="{49F6FB83-A012-0B4C-94E5-ECD2E6A44CD9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39782" y="453616"/>
            <a:ext cx="628036" cy="728009"/>
          </a:xfrm>
          <a:prstGeom prst="rect">
            <a:avLst/>
          </a:prstGeom>
        </p:spPr>
      </p:pic>
      <p:sp>
        <p:nvSpPr>
          <p:cNvPr id="11" name="Plassholder for innhold 2">
            <a:extLst>
              <a:ext uri="{FF2B5EF4-FFF2-40B4-BE49-F238E27FC236}">
                <a16:creationId xmlns:a16="http://schemas.microsoft.com/office/drawing/2014/main" id="{D8D4C5B4-8BF8-0240-AA6C-FACC859ECBC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699809"/>
            <a:ext cx="10515600" cy="435133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2" name="Plassholder for lysbildenummer 1">
            <a:extLst>
              <a:ext uri="{FF2B5EF4-FFF2-40B4-BE49-F238E27FC236}">
                <a16:creationId xmlns:a16="http://schemas.microsoft.com/office/drawing/2014/main" id="{19784CF6-CAB2-394C-AD56-631D183BD21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342387-4C64-2345-844A-655F6DE07248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66286702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5">
            <a:extLst>
              <a:ext uri="{FF2B5EF4-FFF2-40B4-BE49-F238E27FC236}">
                <a16:creationId xmlns:a16="http://schemas.microsoft.com/office/drawing/2014/main" id="{D92CF51F-427D-AB47-BBC4-23C80066FF91}"/>
              </a:ext>
            </a:extLst>
          </p:cNvPr>
          <p:cNvSpPr/>
          <p:nvPr userDrawn="1"/>
        </p:nvSpPr>
        <p:spPr>
          <a:xfrm>
            <a:off x="-67733" y="0"/>
            <a:ext cx="12259733" cy="685800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1" name="Tittel 1">
            <a:extLst>
              <a:ext uri="{FF2B5EF4-FFF2-40B4-BE49-F238E27FC236}">
                <a16:creationId xmlns:a16="http://schemas.microsoft.com/office/drawing/2014/main" id="{66AA460B-A23D-2F42-B7F4-89A0A21DD1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12932"/>
            <a:ext cx="10515600" cy="1325563"/>
          </a:xfrm>
        </p:spPr>
        <p:txBody>
          <a:bodyPr/>
          <a:lstStyle>
            <a:lvl1pPr algn="l">
              <a:defRPr b="1" i="0" u="none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12" name="Plassholder for innhold 2">
            <a:extLst>
              <a:ext uri="{FF2B5EF4-FFF2-40B4-BE49-F238E27FC236}">
                <a16:creationId xmlns:a16="http://schemas.microsoft.com/office/drawing/2014/main" id="{7ADCF548-C84B-9241-82A4-BACEF75F8B5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673432"/>
            <a:ext cx="10515600" cy="435133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pic>
        <p:nvPicPr>
          <p:cNvPr id="13" name="Bilde 12">
            <a:extLst>
              <a:ext uri="{FF2B5EF4-FFF2-40B4-BE49-F238E27FC236}">
                <a16:creationId xmlns:a16="http://schemas.microsoft.com/office/drawing/2014/main" id="{04FECB73-9D2C-AB46-B054-1C098E9BB48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39782" y="453616"/>
            <a:ext cx="628036" cy="728009"/>
          </a:xfrm>
          <a:prstGeom prst="rect">
            <a:avLst/>
          </a:prstGeom>
        </p:spPr>
      </p:pic>
      <p:pic>
        <p:nvPicPr>
          <p:cNvPr id="14" name="Picture 12" descr="Bilde2">
            <a:extLst>
              <a:ext uri="{FF2B5EF4-FFF2-40B4-BE49-F238E27FC236}">
                <a16:creationId xmlns:a16="http://schemas.microsoft.com/office/drawing/2014/main" id="{288E1B6C-9CA5-B24F-8443-5E9F929A83CA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8541" t="-632" r="-1689" b="-2281"/>
          <a:stretch/>
        </p:blipFill>
        <p:spPr bwMode="auto">
          <a:xfrm>
            <a:off x="-367277" y="-747280"/>
            <a:ext cx="1101168" cy="99846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Plassholder for lysbildenummer 1">
            <a:extLst>
              <a:ext uri="{FF2B5EF4-FFF2-40B4-BE49-F238E27FC236}">
                <a16:creationId xmlns:a16="http://schemas.microsoft.com/office/drawing/2014/main" id="{A21DB301-FB9B-0F41-9774-01D21A507B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B342387-4C64-2345-844A-655F6DE07248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5330691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o deler m/ farge vens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ktangel 8">
            <a:extLst>
              <a:ext uri="{FF2B5EF4-FFF2-40B4-BE49-F238E27FC236}">
                <a16:creationId xmlns:a16="http://schemas.microsoft.com/office/drawing/2014/main" id="{32F7F58A-510C-2D43-8737-525421A2C421}"/>
              </a:ext>
            </a:extLst>
          </p:cNvPr>
          <p:cNvSpPr/>
          <p:nvPr userDrawn="1"/>
        </p:nvSpPr>
        <p:spPr>
          <a:xfrm>
            <a:off x="696734" y="872613"/>
            <a:ext cx="5314154" cy="520106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10" name="Bilde 9">
            <a:extLst>
              <a:ext uri="{FF2B5EF4-FFF2-40B4-BE49-F238E27FC236}">
                <a16:creationId xmlns:a16="http://schemas.microsoft.com/office/drawing/2014/main" id="{84DCA5A0-DAAF-8A4D-BBAC-52733E00477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5616"/>
          <a:stretch/>
        </p:blipFill>
        <p:spPr>
          <a:xfrm>
            <a:off x="665283" y="1750175"/>
            <a:ext cx="411083" cy="3312891"/>
          </a:xfrm>
          <a:prstGeom prst="rect">
            <a:avLst/>
          </a:prstGeom>
        </p:spPr>
      </p:pic>
      <p:sp>
        <p:nvSpPr>
          <p:cNvPr id="11" name="Plassholder for innhold 3">
            <a:extLst>
              <a:ext uri="{FF2B5EF4-FFF2-40B4-BE49-F238E27FC236}">
                <a16:creationId xmlns:a16="http://schemas.microsoft.com/office/drawing/2014/main" id="{24105AA8-977A-8A43-8D3A-371E328A04C7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33522" y="872613"/>
            <a:ext cx="5314154" cy="5201060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5000" b="1">
                <a:solidFill>
                  <a:schemeClr val="bg1"/>
                </a:solidFill>
                <a:latin typeface="Garamond" panose="02020404030301010803" pitchFamily="18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</a:t>
            </a:r>
            <a:br>
              <a:rPr lang="nb-NO"/>
            </a:br>
            <a:r>
              <a:rPr lang="nb-NO"/>
              <a:t>å redigere </a:t>
            </a:r>
            <a:br>
              <a:rPr lang="nb-NO"/>
            </a:br>
            <a:r>
              <a:rPr lang="nb-NO"/>
              <a:t>tekststiler </a:t>
            </a:r>
            <a:br>
              <a:rPr lang="nb-NO"/>
            </a:br>
            <a:r>
              <a:rPr lang="nb-NO"/>
              <a:t>i malen</a:t>
            </a:r>
          </a:p>
        </p:txBody>
      </p:sp>
      <p:sp>
        <p:nvSpPr>
          <p:cNvPr id="12" name="Plassholder for innhold 3">
            <a:extLst>
              <a:ext uri="{FF2B5EF4-FFF2-40B4-BE49-F238E27FC236}">
                <a16:creationId xmlns:a16="http://schemas.microsoft.com/office/drawing/2014/main" id="{2AA1BD41-7AE6-8A4E-A47D-B6698FA88893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696734" y="872613"/>
            <a:ext cx="5314154" cy="5201060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5000" b="1">
                <a:solidFill>
                  <a:schemeClr val="bg1"/>
                </a:solidFill>
                <a:latin typeface="Garamond" panose="02020404030301010803" pitchFamily="18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</a:t>
            </a:r>
            <a:br>
              <a:rPr lang="nb-NO"/>
            </a:br>
            <a:r>
              <a:rPr lang="nb-NO"/>
              <a:t>å redigere </a:t>
            </a:r>
            <a:br>
              <a:rPr lang="nb-NO"/>
            </a:br>
            <a:r>
              <a:rPr lang="nb-NO"/>
              <a:t>tekststiler </a:t>
            </a:r>
            <a:br>
              <a:rPr lang="nb-NO"/>
            </a:br>
            <a:r>
              <a:rPr lang="nb-NO"/>
              <a:t>i malen</a:t>
            </a:r>
          </a:p>
        </p:txBody>
      </p:sp>
      <p:sp>
        <p:nvSpPr>
          <p:cNvPr id="2" name="Plassholder for lysbildenummer 1">
            <a:extLst>
              <a:ext uri="{FF2B5EF4-FFF2-40B4-BE49-F238E27FC236}">
                <a16:creationId xmlns:a16="http://schemas.microsoft.com/office/drawing/2014/main" id="{5A2A68E7-7265-9A47-BC75-425AB11E64B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B342387-4C64-2345-844A-655F6DE07248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72219585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Hvileside / Kapittelinnde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69107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rgbClr val="FFFFFF"/>
          </a:solidFill>
          <a:ln w="1270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89803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endParaRPr lang="nb-NO" sz="4800" b="1" i="0" baseline="0" err="1">
              <a:latin typeface="Garamond" panose="02020404030301010803" pitchFamily="18" charset="0"/>
              <a:ea typeface="+mj-ea"/>
              <a:cs typeface="+mj-cs"/>
              <a:sym typeface="Garamond" panose="02020404030301010803" pitchFamily="18" charset="0"/>
            </a:endParaRPr>
          </a:p>
        </p:txBody>
      </p:sp>
      <p:sp>
        <p:nvSpPr>
          <p:cNvPr id="4" name="Rektangel 3"/>
          <p:cNvSpPr/>
          <p:nvPr userDrawn="1"/>
        </p:nvSpPr>
        <p:spPr>
          <a:xfrm>
            <a:off x="-9831" y="0"/>
            <a:ext cx="12201831" cy="685800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/>
            <a:endParaRPr lang="nb-NO"/>
          </a:p>
        </p:txBody>
      </p:sp>
      <p:pic>
        <p:nvPicPr>
          <p:cNvPr id="5" name="Bilde 4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39782" y="453616"/>
            <a:ext cx="628036" cy="728009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912092" y="610932"/>
            <a:ext cx="9452593" cy="2852737"/>
          </a:xfrm>
        </p:spPr>
        <p:txBody>
          <a:bodyPr anchor="b">
            <a:normAutofit/>
          </a:bodyPr>
          <a:lstStyle>
            <a:lvl1pPr algn="ctr">
              <a:defRPr sz="48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907176" y="3620985"/>
            <a:ext cx="9452593" cy="1500187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pic>
        <p:nvPicPr>
          <p:cNvPr id="10" name="Bilde 9">
            <a:extLst>
              <a:ext uri="{FF2B5EF4-FFF2-40B4-BE49-F238E27FC236}">
                <a16:creationId xmlns:a16="http://schemas.microsoft.com/office/drawing/2014/main" id="{84DCA5A0-DAAF-8A4D-BBAC-52733E00477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1993"/>
          <a:stretch/>
        </p:blipFill>
        <p:spPr>
          <a:xfrm>
            <a:off x="-9831" y="1750175"/>
            <a:ext cx="1086198" cy="33128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3301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o deler m/ farge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ssholder for innhold 5">
            <a:extLst>
              <a:ext uri="{FF2B5EF4-FFF2-40B4-BE49-F238E27FC236}">
                <a16:creationId xmlns:a16="http://schemas.microsoft.com/office/drawing/2014/main" id="{52FDBCCA-D66B-3444-93FF-04AB5B83CE66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96734" y="872613"/>
            <a:ext cx="5314154" cy="5201060"/>
          </a:xfrm>
          <a:prstGeom prst="rect">
            <a:avLst/>
          </a:prstGeom>
        </p:spPr>
        <p:txBody>
          <a:bodyPr anchor="ctr"/>
          <a:lstStyle>
            <a:lvl1pPr algn="l"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14" name="Rektangel 13">
            <a:extLst>
              <a:ext uri="{FF2B5EF4-FFF2-40B4-BE49-F238E27FC236}">
                <a16:creationId xmlns:a16="http://schemas.microsoft.com/office/drawing/2014/main" id="{17D77DA3-3AFE-ED44-BB8C-2CB5B4C5AD36}"/>
              </a:ext>
            </a:extLst>
          </p:cNvPr>
          <p:cNvSpPr/>
          <p:nvPr userDrawn="1"/>
        </p:nvSpPr>
        <p:spPr>
          <a:xfrm>
            <a:off x="6333522" y="872613"/>
            <a:ext cx="5314154" cy="520106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5" name="Plassholder for innhold 3">
            <a:extLst>
              <a:ext uri="{FF2B5EF4-FFF2-40B4-BE49-F238E27FC236}">
                <a16:creationId xmlns:a16="http://schemas.microsoft.com/office/drawing/2014/main" id="{16854803-BD58-CB44-9D1D-5D2BF644EDB5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33522" y="872613"/>
            <a:ext cx="5314154" cy="5201060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5000" b="1">
                <a:solidFill>
                  <a:schemeClr val="bg1"/>
                </a:solidFill>
                <a:latin typeface="Garamond" panose="02020404030301010803" pitchFamily="18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</a:t>
            </a:r>
            <a:br>
              <a:rPr lang="nb-NO"/>
            </a:br>
            <a:r>
              <a:rPr lang="nb-NO"/>
              <a:t>å redigere </a:t>
            </a:r>
            <a:br>
              <a:rPr lang="nb-NO"/>
            </a:br>
            <a:r>
              <a:rPr lang="nb-NO"/>
              <a:t>tekststiler </a:t>
            </a:r>
            <a:br>
              <a:rPr lang="nb-NO"/>
            </a:br>
            <a:r>
              <a:rPr lang="nb-NO"/>
              <a:t>i malen</a:t>
            </a:r>
          </a:p>
        </p:txBody>
      </p:sp>
      <p:pic>
        <p:nvPicPr>
          <p:cNvPr id="16" name="Bilde 15">
            <a:extLst>
              <a:ext uri="{FF2B5EF4-FFF2-40B4-BE49-F238E27FC236}">
                <a16:creationId xmlns:a16="http://schemas.microsoft.com/office/drawing/2014/main" id="{1BD4FFE4-D083-C540-B4BA-7419C79EEAF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5616"/>
          <a:stretch/>
        </p:blipFill>
        <p:spPr>
          <a:xfrm flipH="1">
            <a:off x="11236593" y="1954774"/>
            <a:ext cx="411083" cy="3312891"/>
          </a:xfrm>
          <a:prstGeom prst="rect">
            <a:avLst/>
          </a:prstGeom>
        </p:spPr>
      </p:pic>
      <p:sp>
        <p:nvSpPr>
          <p:cNvPr id="2" name="Plassholder for lysbildenummer 1">
            <a:extLst>
              <a:ext uri="{FF2B5EF4-FFF2-40B4-BE49-F238E27FC236}">
                <a16:creationId xmlns:a16="http://schemas.microsoft.com/office/drawing/2014/main" id="{5089DAF1-81FD-B343-A4F4-308E9D52A63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7B342387-4C64-2345-844A-655F6DE07248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5119025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o deler m/ farge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3E645192-E794-AF45-A031-B0A3E22A6F64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838199" y="1673432"/>
            <a:ext cx="5139267" cy="4351338"/>
          </a:xfrm>
          <a:prstGeom prst="rect">
            <a:avLst/>
          </a:prstGeom>
        </p:spPr>
        <p:txBody>
          <a:bodyPr anchor="t"/>
          <a:lstStyle>
            <a:lvl1pPr algn="l"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11" name="Plassholder for innhold 5">
            <a:extLst>
              <a:ext uri="{FF2B5EF4-FFF2-40B4-BE49-F238E27FC236}">
                <a16:creationId xmlns:a16="http://schemas.microsoft.com/office/drawing/2014/main" id="{368DE0A9-2298-BD49-960F-D37C9A9EDD4E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282267" y="1673432"/>
            <a:ext cx="5071533" cy="4351338"/>
          </a:xfrm>
          <a:prstGeom prst="rect">
            <a:avLst/>
          </a:prstGeom>
        </p:spPr>
        <p:txBody>
          <a:bodyPr anchor="t"/>
          <a:lstStyle>
            <a:lvl1pPr algn="l"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pic>
        <p:nvPicPr>
          <p:cNvPr id="23" name="Bilde 22">
            <a:extLst>
              <a:ext uri="{FF2B5EF4-FFF2-40B4-BE49-F238E27FC236}">
                <a16:creationId xmlns:a16="http://schemas.microsoft.com/office/drawing/2014/main" id="{CA352B03-86B5-5245-9777-63EC80BBB5B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39782" y="453616"/>
            <a:ext cx="628036" cy="728009"/>
          </a:xfrm>
          <a:prstGeom prst="rect">
            <a:avLst/>
          </a:prstGeom>
        </p:spPr>
      </p:pic>
      <p:sp>
        <p:nvSpPr>
          <p:cNvPr id="24" name="Tittel 1">
            <a:extLst>
              <a:ext uri="{FF2B5EF4-FFF2-40B4-BE49-F238E27FC236}">
                <a16:creationId xmlns:a16="http://schemas.microsoft.com/office/drawing/2014/main" id="{259B21FD-5709-F34A-9EA4-119ACB539A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30841"/>
            <a:ext cx="10515600" cy="1325563"/>
          </a:xfrm>
        </p:spPr>
        <p:txBody>
          <a:bodyPr/>
          <a:lstStyle>
            <a:lvl1pPr algn="l">
              <a:defRPr b="1" i="0" u="none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pic>
        <p:nvPicPr>
          <p:cNvPr id="25" name="Bilde 24">
            <a:extLst>
              <a:ext uri="{FF2B5EF4-FFF2-40B4-BE49-F238E27FC236}">
                <a16:creationId xmlns:a16="http://schemas.microsoft.com/office/drawing/2014/main" id="{150F4748-AED7-DE49-9E14-AC36DD01881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678" r="-4" b="14030"/>
          <a:stretch/>
        </p:blipFill>
        <p:spPr>
          <a:xfrm>
            <a:off x="-8143286" y="-726749"/>
            <a:ext cx="8770374" cy="8590979"/>
          </a:xfrm>
          <a:prstGeom prst="rect">
            <a:avLst/>
          </a:prstGeom>
        </p:spPr>
      </p:pic>
      <p:sp>
        <p:nvSpPr>
          <p:cNvPr id="2" name="Plassholder for lysbildenummer 1">
            <a:extLst>
              <a:ext uri="{FF2B5EF4-FFF2-40B4-BE49-F238E27FC236}">
                <a16:creationId xmlns:a16="http://schemas.microsoft.com/office/drawing/2014/main" id="{6AEB368D-8986-6344-8E9C-3F9E7B7398B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7B342387-4C64-2345-844A-655F6DE07248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1988144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o deler m/ farge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FAAC540-B334-45BC-A09A-75F86CE8AF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7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FAAC540-B334-45BC-A09A-75F86CE8AF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7E8B4DD-5851-43AD-8BFF-61428F4C91B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>
              <a:latin typeface="Garamond" panose="02020404030301010803" pitchFamily="18" charset="0"/>
              <a:ea typeface="+mj-ea"/>
              <a:cs typeface="+mj-cs"/>
              <a:sym typeface="Garamond" panose="02020404030301010803" pitchFamily="18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BF41370-30E4-4B69-B7CB-EF422FEAAF7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82" y="0"/>
            <a:ext cx="12185635" cy="6858000"/>
          </a:xfrm>
          <a:prstGeom prst="rect">
            <a:avLst/>
          </a:prstGeom>
        </p:spPr>
      </p:pic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3E645192-E794-AF45-A031-B0A3E22A6F64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838199" y="1673432"/>
            <a:ext cx="5139267" cy="4351338"/>
          </a:xfrm>
          <a:prstGeom prst="rect">
            <a:avLst/>
          </a:prstGeom>
        </p:spPr>
        <p:txBody>
          <a:bodyPr anchor="t"/>
          <a:lstStyle>
            <a:lvl1pPr algn="l"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11" name="Plassholder for innhold 5">
            <a:extLst>
              <a:ext uri="{FF2B5EF4-FFF2-40B4-BE49-F238E27FC236}">
                <a16:creationId xmlns:a16="http://schemas.microsoft.com/office/drawing/2014/main" id="{368DE0A9-2298-BD49-960F-D37C9A9EDD4E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282267" y="1673432"/>
            <a:ext cx="5071533" cy="4351338"/>
          </a:xfrm>
          <a:prstGeom prst="rect">
            <a:avLst/>
          </a:prstGeom>
        </p:spPr>
        <p:txBody>
          <a:bodyPr anchor="t"/>
          <a:lstStyle>
            <a:lvl1pPr algn="l"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pic>
        <p:nvPicPr>
          <p:cNvPr id="23" name="Bilde 22">
            <a:extLst>
              <a:ext uri="{FF2B5EF4-FFF2-40B4-BE49-F238E27FC236}">
                <a16:creationId xmlns:a16="http://schemas.microsoft.com/office/drawing/2014/main" id="{CA352B03-86B5-5245-9777-63EC80BBB5B6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39782" y="453616"/>
            <a:ext cx="628036" cy="728009"/>
          </a:xfrm>
          <a:prstGeom prst="rect">
            <a:avLst/>
          </a:prstGeom>
        </p:spPr>
      </p:pic>
      <p:sp>
        <p:nvSpPr>
          <p:cNvPr id="24" name="Tittel 1">
            <a:extLst>
              <a:ext uri="{FF2B5EF4-FFF2-40B4-BE49-F238E27FC236}">
                <a16:creationId xmlns:a16="http://schemas.microsoft.com/office/drawing/2014/main" id="{259B21FD-5709-F34A-9EA4-119ACB539A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30841"/>
            <a:ext cx="10515600" cy="1325563"/>
          </a:xfrm>
        </p:spPr>
        <p:txBody>
          <a:bodyPr/>
          <a:lstStyle>
            <a:lvl1pPr algn="l">
              <a:defRPr b="1" i="0" u="none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pic>
        <p:nvPicPr>
          <p:cNvPr id="25" name="Bilde 24">
            <a:extLst>
              <a:ext uri="{FF2B5EF4-FFF2-40B4-BE49-F238E27FC236}">
                <a16:creationId xmlns:a16="http://schemas.microsoft.com/office/drawing/2014/main" id="{150F4748-AED7-DE49-9E14-AC36DD01881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678" r="-4" b="14030"/>
          <a:stretch/>
        </p:blipFill>
        <p:spPr>
          <a:xfrm>
            <a:off x="-8143286" y="-726749"/>
            <a:ext cx="8770374" cy="8590979"/>
          </a:xfrm>
          <a:prstGeom prst="rect">
            <a:avLst/>
          </a:prstGeom>
        </p:spPr>
      </p:pic>
      <p:sp>
        <p:nvSpPr>
          <p:cNvPr id="2" name="Plassholder for lysbildenummer 1">
            <a:extLst>
              <a:ext uri="{FF2B5EF4-FFF2-40B4-BE49-F238E27FC236}">
                <a16:creationId xmlns:a16="http://schemas.microsoft.com/office/drawing/2014/main" id="{6AEB368D-8986-6344-8E9C-3F9E7B7398B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7B342387-4C64-2345-844A-655F6DE07248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70663699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o deler m/ farge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FAAC540-B334-45BC-A09A-75F86CE8AF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1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FAAC540-B334-45BC-A09A-75F86CE8AF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7E8B4DD-5851-43AD-8BFF-61428F4C91B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>
              <a:latin typeface="Garamond" panose="02020404030301010803" pitchFamily="18" charset="0"/>
              <a:ea typeface="+mj-ea"/>
              <a:cs typeface="+mj-cs"/>
              <a:sym typeface="Garamond" panose="02020404030301010803" pitchFamily="18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BF41370-30E4-4B69-B7CB-EF422FEAAF7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-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82" y="0"/>
            <a:ext cx="12185635" cy="6858000"/>
          </a:xfrm>
          <a:prstGeom prst="rect">
            <a:avLst/>
          </a:prstGeom>
        </p:spPr>
      </p:pic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3E645192-E794-AF45-A031-B0A3E22A6F64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838199" y="1673432"/>
            <a:ext cx="5139267" cy="4351338"/>
          </a:xfrm>
          <a:prstGeom prst="rect">
            <a:avLst/>
          </a:prstGeom>
        </p:spPr>
        <p:txBody>
          <a:bodyPr anchor="t"/>
          <a:lstStyle>
            <a:lvl1pPr algn="l"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11" name="Plassholder for innhold 5">
            <a:extLst>
              <a:ext uri="{FF2B5EF4-FFF2-40B4-BE49-F238E27FC236}">
                <a16:creationId xmlns:a16="http://schemas.microsoft.com/office/drawing/2014/main" id="{368DE0A9-2298-BD49-960F-D37C9A9EDD4E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282267" y="1673432"/>
            <a:ext cx="5071533" cy="4351338"/>
          </a:xfrm>
          <a:prstGeom prst="rect">
            <a:avLst/>
          </a:prstGeom>
        </p:spPr>
        <p:txBody>
          <a:bodyPr anchor="t"/>
          <a:lstStyle>
            <a:lvl1pPr algn="l"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pic>
        <p:nvPicPr>
          <p:cNvPr id="23" name="Bilde 22">
            <a:extLst>
              <a:ext uri="{FF2B5EF4-FFF2-40B4-BE49-F238E27FC236}">
                <a16:creationId xmlns:a16="http://schemas.microsoft.com/office/drawing/2014/main" id="{CA352B03-86B5-5245-9777-63EC80BBB5B6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39782" y="453616"/>
            <a:ext cx="628036" cy="728009"/>
          </a:xfrm>
          <a:prstGeom prst="rect">
            <a:avLst/>
          </a:prstGeom>
        </p:spPr>
      </p:pic>
      <p:sp>
        <p:nvSpPr>
          <p:cNvPr id="24" name="Tittel 1">
            <a:extLst>
              <a:ext uri="{FF2B5EF4-FFF2-40B4-BE49-F238E27FC236}">
                <a16:creationId xmlns:a16="http://schemas.microsoft.com/office/drawing/2014/main" id="{259B21FD-5709-F34A-9EA4-119ACB539A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30841"/>
            <a:ext cx="10515600" cy="1325563"/>
          </a:xfrm>
        </p:spPr>
        <p:txBody>
          <a:bodyPr/>
          <a:lstStyle>
            <a:lvl1pPr algn="l">
              <a:defRPr b="1" i="0" u="none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pic>
        <p:nvPicPr>
          <p:cNvPr id="25" name="Bilde 24">
            <a:extLst>
              <a:ext uri="{FF2B5EF4-FFF2-40B4-BE49-F238E27FC236}">
                <a16:creationId xmlns:a16="http://schemas.microsoft.com/office/drawing/2014/main" id="{150F4748-AED7-DE49-9E14-AC36DD01881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2734" r="-4" b="14030"/>
          <a:stretch/>
        </p:blipFill>
        <p:spPr>
          <a:xfrm>
            <a:off x="0" y="-726749"/>
            <a:ext cx="627088" cy="8590979"/>
          </a:xfrm>
          <a:prstGeom prst="rect">
            <a:avLst/>
          </a:prstGeom>
        </p:spPr>
      </p:pic>
      <p:sp>
        <p:nvSpPr>
          <p:cNvPr id="2" name="Plassholder for lysbildenummer 1">
            <a:extLst>
              <a:ext uri="{FF2B5EF4-FFF2-40B4-BE49-F238E27FC236}">
                <a16:creationId xmlns:a16="http://schemas.microsoft.com/office/drawing/2014/main" id="{6AEB368D-8986-6344-8E9C-3F9E7B7398B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7B342387-4C64-2345-844A-655F6DE07248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8779274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o deler m/ farge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3E645192-E794-AF45-A031-B0A3E22A6F64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838199" y="2404532"/>
            <a:ext cx="5139267" cy="3620237"/>
          </a:xfrm>
          <a:prstGeom prst="rect">
            <a:avLst/>
          </a:prstGeom>
        </p:spPr>
        <p:txBody>
          <a:bodyPr anchor="t"/>
          <a:lstStyle>
            <a:lvl1pPr algn="l"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pic>
        <p:nvPicPr>
          <p:cNvPr id="23" name="Bilde 22">
            <a:extLst>
              <a:ext uri="{FF2B5EF4-FFF2-40B4-BE49-F238E27FC236}">
                <a16:creationId xmlns:a16="http://schemas.microsoft.com/office/drawing/2014/main" id="{CA352B03-86B5-5245-9777-63EC80BBB5B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39782" y="453616"/>
            <a:ext cx="628036" cy="728009"/>
          </a:xfrm>
          <a:prstGeom prst="rect">
            <a:avLst/>
          </a:prstGeom>
        </p:spPr>
      </p:pic>
      <p:sp>
        <p:nvSpPr>
          <p:cNvPr id="14" name="Plassholder for innhold 5">
            <a:extLst>
              <a:ext uri="{FF2B5EF4-FFF2-40B4-BE49-F238E27FC236}">
                <a16:creationId xmlns:a16="http://schemas.microsoft.com/office/drawing/2014/main" id="{6867F8CE-432F-844E-9B05-36149B1DEDBD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290733" y="2404532"/>
            <a:ext cx="5139267" cy="3620237"/>
          </a:xfrm>
          <a:prstGeom prst="rect">
            <a:avLst/>
          </a:prstGeom>
        </p:spPr>
        <p:txBody>
          <a:bodyPr anchor="t"/>
          <a:lstStyle>
            <a:lvl1pPr algn="l"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16" name="Tittel 1">
            <a:extLst>
              <a:ext uri="{FF2B5EF4-FFF2-40B4-BE49-F238E27FC236}">
                <a16:creationId xmlns:a16="http://schemas.microsoft.com/office/drawing/2014/main" id="{631C04E5-AB2B-344C-A160-5AE6EF7F07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30841"/>
            <a:ext cx="10515600" cy="1325563"/>
          </a:xfrm>
        </p:spPr>
        <p:txBody>
          <a:bodyPr/>
          <a:lstStyle>
            <a:lvl1pPr algn="l">
              <a:defRPr b="1" i="0" u="none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19" name="Plassholder for tekst 6">
            <a:extLst>
              <a:ext uri="{FF2B5EF4-FFF2-40B4-BE49-F238E27FC236}">
                <a16:creationId xmlns:a16="http://schemas.microsoft.com/office/drawing/2014/main" id="{6BEBBB34-DF82-8A42-B70F-9A3B15CEEB3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199" y="1730261"/>
            <a:ext cx="5224463" cy="465667"/>
          </a:xfrm>
        </p:spPr>
        <p:txBody>
          <a:bodyPr>
            <a:noAutofit/>
          </a:bodyPr>
          <a:lstStyle>
            <a:lvl1pPr marL="0" indent="0">
              <a:buNone/>
              <a:defRPr sz="3000" b="1">
                <a:latin typeface="Garamond" panose="02020404030301010803" pitchFamily="18" charset="0"/>
              </a:defRPr>
            </a:lvl1pPr>
            <a:lvl2pPr marL="457200" indent="0">
              <a:buNone/>
              <a:defRPr sz="3000" b="1">
                <a:latin typeface="Garamond" panose="02020404030301010803" pitchFamily="18" charset="0"/>
              </a:defRPr>
            </a:lvl2pPr>
            <a:lvl3pPr marL="914400" indent="0">
              <a:buNone/>
              <a:defRPr sz="3000" b="1">
                <a:latin typeface="Garamond" panose="02020404030301010803" pitchFamily="18" charset="0"/>
              </a:defRPr>
            </a:lvl3pPr>
            <a:lvl4pPr marL="1371600" indent="0">
              <a:buNone/>
              <a:defRPr sz="3000" b="1">
                <a:latin typeface="Garamond" panose="02020404030301010803" pitchFamily="18" charset="0"/>
              </a:defRPr>
            </a:lvl4pPr>
            <a:lvl5pPr marL="1828800" indent="0">
              <a:buNone/>
              <a:defRPr sz="3000" b="1">
                <a:latin typeface="Garamond" panose="02020404030301010803" pitchFamily="18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Plassholder for tekst 6">
            <a:extLst>
              <a:ext uri="{FF2B5EF4-FFF2-40B4-BE49-F238E27FC236}">
                <a16:creationId xmlns:a16="http://schemas.microsoft.com/office/drawing/2014/main" id="{78543196-CD03-E84F-9AC9-99E54735565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90733" y="1730261"/>
            <a:ext cx="5224463" cy="465667"/>
          </a:xfrm>
        </p:spPr>
        <p:txBody>
          <a:bodyPr>
            <a:noAutofit/>
          </a:bodyPr>
          <a:lstStyle>
            <a:lvl1pPr marL="0" indent="0">
              <a:buNone/>
              <a:defRPr sz="3000" b="1">
                <a:latin typeface="Garamond" panose="02020404030301010803" pitchFamily="18" charset="0"/>
              </a:defRPr>
            </a:lvl1pPr>
            <a:lvl2pPr marL="457200" indent="0">
              <a:buNone/>
              <a:defRPr sz="3000" b="1">
                <a:latin typeface="Garamond" panose="02020404030301010803" pitchFamily="18" charset="0"/>
              </a:defRPr>
            </a:lvl2pPr>
            <a:lvl3pPr marL="914400" indent="0">
              <a:buNone/>
              <a:defRPr sz="3000" b="1">
                <a:latin typeface="Garamond" panose="02020404030301010803" pitchFamily="18" charset="0"/>
              </a:defRPr>
            </a:lvl3pPr>
            <a:lvl4pPr marL="1371600" indent="0">
              <a:buNone/>
              <a:defRPr sz="3000" b="1">
                <a:latin typeface="Garamond" panose="02020404030301010803" pitchFamily="18" charset="0"/>
              </a:defRPr>
            </a:lvl4pPr>
            <a:lvl5pPr marL="1828800" indent="0">
              <a:buNone/>
              <a:defRPr sz="3000" b="1">
                <a:latin typeface="Garamond" panose="02020404030301010803" pitchFamily="18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21" name="Bilde 20">
            <a:extLst>
              <a:ext uri="{FF2B5EF4-FFF2-40B4-BE49-F238E27FC236}">
                <a16:creationId xmlns:a16="http://schemas.microsoft.com/office/drawing/2014/main" id="{CBED2001-A3ED-0144-898E-D417583CB4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678" r="-4" b="14030"/>
          <a:stretch/>
        </p:blipFill>
        <p:spPr>
          <a:xfrm>
            <a:off x="-8143286" y="-726749"/>
            <a:ext cx="8770374" cy="8590979"/>
          </a:xfrm>
          <a:prstGeom prst="rect">
            <a:avLst/>
          </a:prstGeom>
        </p:spPr>
      </p:pic>
      <p:sp>
        <p:nvSpPr>
          <p:cNvPr id="2" name="Plassholder for lysbildenummer 1">
            <a:extLst>
              <a:ext uri="{FF2B5EF4-FFF2-40B4-BE49-F238E27FC236}">
                <a16:creationId xmlns:a16="http://schemas.microsoft.com/office/drawing/2014/main" id="{D5516697-C130-5846-92B4-3E30B120351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B342387-4C64-2345-844A-655F6DE07248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20184114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o deler m/ farge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5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2800" b="1" i="0" baseline="0">
              <a:latin typeface="Garamond" panose="02020404030301010803" pitchFamily="18" charset="0"/>
              <a:ea typeface="+mj-ea"/>
              <a:cs typeface="+mj-cs"/>
              <a:sym typeface="Garamond" panose="02020404030301010803" pitchFamily="18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 cstate="email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270000"/>
            <a:ext cx="12192000" cy="8128000"/>
          </a:xfrm>
          <a:prstGeom prst="rect">
            <a:avLst/>
          </a:prstGeom>
        </p:spPr>
      </p:pic>
      <p:pic>
        <p:nvPicPr>
          <p:cNvPr id="23" name="Bilde 22">
            <a:extLst>
              <a:ext uri="{FF2B5EF4-FFF2-40B4-BE49-F238E27FC236}">
                <a16:creationId xmlns:a16="http://schemas.microsoft.com/office/drawing/2014/main" id="{CA352B03-86B5-5245-9777-63EC80BBB5B6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39782" y="453616"/>
            <a:ext cx="628036" cy="728009"/>
          </a:xfrm>
          <a:prstGeom prst="rect">
            <a:avLst/>
          </a:prstGeom>
        </p:spPr>
      </p:pic>
      <p:sp>
        <p:nvSpPr>
          <p:cNvPr id="16" name="Tittel 1">
            <a:extLst>
              <a:ext uri="{FF2B5EF4-FFF2-40B4-BE49-F238E27FC236}">
                <a16:creationId xmlns:a16="http://schemas.microsoft.com/office/drawing/2014/main" id="{631C04E5-AB2B-344C-A160-5AE6EF7F07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30841"/>
            <a:ext cx="10515600" cy="1325563"/>
          </a:xfrm>
        </p:spPr>
        <p:txBody>
          <a:bodyPr/>
          <a:lstStyle>
            <a:lvl1pPr algn="l">
              <a:defRPr b="1" i="0" u="none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pic>
        <p:nvPicPr>
          <p:cNvPr id="21" name="Bilde 20">
            <a:extLst>
              <a:ext uri="{FF2B5EF4-FFF2-40B4-BE49-F238E27FC236}">
                <a16:creationId xmlns:a16="http://schemas.microsoft.com/office/drawing/2014/main" id="{CBED2001-A3ED-0144-898E-D417583CB4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678" r="-4" b="14030"/>
          <a:stretch/>
        </p:blipFill>
        <p:spPr>
          <a:xfrm>
            <a:off x="-8143286" y="-726749"/>
            <a:ext cx="8770374" cy="8590979"/>
          </a:xfrm>
          <a:prstGeom prst="rect">
            <a:avLst/>
          </a:prstGeom>
        </p:spPr>
      </p:pic>
      <p:sp>
        <p:nvSpPr>
          <p:cNvPr id="2" name="Plassholder for lysbildenummer 1">
            <a:extLst>
              <a:ext uri="{FF2B5EF4-FFF2-40B4-BE49-F238E27FC236}">
                <a16:creationId xmlns:a16="http://schemas.microsoft.com/office/drawing/2014/main" id="{D5516697-C130-5846-92B4-3E30B120351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B342387-4C64-2345-844A-655F6DE07248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87641504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ull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ssholder for bilde 5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Click icon to add picture</a:t>
            </a:r>
            <a:endParaRPr lang="nb-NO"/>
          </a:p>
        </p:txBody>
      </p:sp>
      <p:pic>
        <p:nvPicPr>
          <p:cNvPr id="7" name="Bild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39782" y="453616"/>
            <a:ext cx="628036" cy="728009"/>
          </a:xfrm>
          <a:prstGeom prst="rect">
            <a:avLst/>
          </a:prstGeom>
        </p:spPr>
      </p:pic>
      <p:sp>
        <p:nvSpPr>
          <p:cNvPr id="2" name="Rektangel 1">
            <a:extLst>
              <a:ext uri="{FF2B5EF4-FFF2-40B4-BE49-F238E27FC236}">
                <a16:creationId xmlns:a16="http://schemas.microsoft.com/office/drawing/2014/main" id="{D8193CB1-DB4F-A24E-B19C-F1442B11F3EA}"/>
              </a:ext>
            </a:extLst>
          </p:cNvPr>
          <p:cNvSpPr/>
          <p:nvPr userDrawn="1"/>
        </p:nvSpPr>
        <p:spPr>
          <a:xfrm>
            <a:off x="6980903" y="1635241"/>
            <a:ext cx="4581832" cy="4581832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8" name="Plassholder for innhold 3">
            <a:extLst>
              <a:ext uri="{FF2B5EF4-FFF2-40B4-BE49-F238E27FC236}">
                <a16:creationId xmlns:a16="http://schemas.microsoft.com/office/drawing/2014/main" id="{0ACB2199-3774-7643-8116-E2B33F686C1D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7229554" y="1537268"/>
            <a:ext cx="4647814" cy="4548900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2400" b="1">
                <a:solidFill>
                  <a:schemeClr val="tx1"/>
                </a:solidFill>
                <a:latin typeface="Garamond" panose="02020404030301010803" pitchFamily="18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</a:t>
            </a:r>
            <a:br>
              <a:rPr lang="nb-NO"/>
            </a:br>
            <a:r>
              <a:rPr lang="nb-NO"/>
              <a:t>tekststiler i malen</a:t>
            </a:r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2B1E33FF-3DCD-5C49-AD57-2E9947EB3F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B342387-4C64-2345-844A-655F6DE07248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82038053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Full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ssholder for bilde 5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Click icon to add picture</a:t>
            </a:r>
            <a:endParaRPr lang="nb-NO"/>
          </a:p>
        </p:txBody>
      </p:sp>
      <p:sp>
        <p:nvSpPr>
          <p:cNvPr id="4" name="Rektangel 3">
            <a:extLst>
              <a:ext uri="{FF2B5EF4-FFF2-40B4-BE49-F238E27FC236}">
                <a16:creationId xmlns:a16="http://schemas.microsoft.com/office/drawing/2014/main" id="{00EA88A7-E155-544E-BCB2-505DF01E3C1E}"/>
              </a:ext>
            </a:extLst>
          </p:cNvPr>
          <p:cNvSpPr/>
          <p:nvPr userDrawn="1"/>
        </p:nvSpPr>
        <p:spPr>
          <a:xfrm>
            <a:off x="990610" y="1841718"/>
            <a:ext cx="4581832" cy="4581832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7" name="Plassholder for innhold 3">
            <a:extLst>
              <a:ext uri="{FF2B5EF4-FFF2-40B4-BE49-F238E27FC236}">
                <a16:creationId xmlns:a16="http://schemas.microsoft.com/office/drawing/2014/main" id="{A06B53AB-6CB6-BD41-AD28-29A941476582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924628" y="1841718"/>
            <a:ext cx="4647814" cy="4548900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2400" b="1">
                <a:solidFill>
                  <a:schemeClr val="tx1"/>
                </a:solidFill>
                <a:latin typeface="Garamond" panose="02020404030301010803" pitchFamily="18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</a:t>
            </a:r>
            <a:br>
              <a:rPr lang="nb-NO"/>
            </a:br>
            <a:r>
              <a:rPr lang="nb-NO"/>
              <a:t>tekststiler i malen</a:t>
            </a:r>
          </a:p>
        </p:txBody>
      </p:sp>
      <p:sp>
        <p:nvSpPr>
          <p:cNvPr id="2" name="Plassholder for lysbildenummer 1">
            <a:extLst>
              <a:ext uri="{FF2B5EF4-FFF2-40B4-BE49-F238E27FC236}">
                <a16:creationId xmlns:a16="http://schemas.microsoft.com/office/drawing/2014/main" id="{79952B8C-A212-5D48-8A6F-8228699ECA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342387-4C64-2345-844A-655F6DE07248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64917109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ssholder for bilde 5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Click icon to add picture</a:t>
            </a:r>
            <a:endParaRPr lang="nb-NO"/>
          </a:p>
        </p:txBody>
      </p:sp>
      <p:sp>
        <p:nvSpPr>
          <p:cNvPr id="2" name="Plassholder for lysbildenummer 1">
            <a:extLst>
              <a:ext uri="{FF2B5EF4-FFF2-40B4-BE49-F238E27FC236}">
                <a16:creationId xmlns:a16="http://schemas.microsoft.com/office/drawing/2014/main" id="{104EB06F-8C91-7441-9EC6-DB1EDEAB91B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B342387-4C64-2345-844A-655F6DE07248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20623087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nhold en d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49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rgbClr val="FFFFFF"/>
          </a:solidFill>
          <a:ln w="1270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89803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endParaRPr lang="nb-NO" sz="4000" b="1" i="0" baseline="0">
              <a:latin typeface="Garamond" panose="02020404030301010803" pitchFamily="18" charset="0"/>
              <a:ea typeface="+mj-ea"/>
              <a:cs typeface="+mj-cs"/>
              <a:sym typeface="Garamond" panose="02020404030301010803" pitchFamily="18" charset="0"/>
            </a:endParaRP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3E645192-E794-AF45-A031-B0A3E22A6F64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1332411" y="1673432"/>
            <a:ext cx="10021388" cy="4351338"/>
          </a:xfrm>
          <a:prstGeom prst="rect">
            <a:avLst/>
          </a:prstGeom>
        </p:spPr>
        <p:txBody>
          <a:bodyPr anchor="t"/>
          <a:lstStyle>
            <a:lvl1pPr algn="l"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24" name="Tittel 1">
            <a:extLst>
              <a:ext uri="{FF2B5EF4-FFF2-40B4-BE49-F238E27FC236}">
                <a16:creationId xmlns:a16="http://schemas.microsoft.com/office/drawing/2014/main" id="{259B21FD-5709-F34A-9EA4-119ACB539A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32410" y="230841"/>
            <a:ext cx="10021389" cy="1325563"/>
          </a:xfrm>
        </p:spPr>
        <p:txBody>
          <a:bodyPr/>
          <a:lstStyle>
            <a:lvl1pPr algn="l">
              <a:defRPr b="1" i="0" u="none">
                <a:solidFill>
                  <a:schemeClr val="tx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150F4748-AED7-DE49-9E14-AC36DD01881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3136" t="1783" r="-3" b="-15317"/>
          <a:stretch/>
        </p:blipFill>
        <p:spPr>
          <a:xfrm>
            <a:off x="0" y="1776299"/>
            <a:ext cx="1076487" cy="3840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6558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ks vens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ktangel 8">
            <a:extLst>
              <a:ext uri="{FF2B5EF4-FFF2-40B4-BE49-F238E27FC236}">
                <a16:creationId xmlns:a16="http://schemas.microsoft.com/office/drawing/2014/main" id="{32F7F58A-510C-2D43-8737-525421A2C421}"/>
              </a:ext>
            </a:extLst>
          </p:cNvPr>
          <p:cNvSpPr/>
          <p:nvPr userDrawn="1"/>
        </p:nvSpPr>
        <p:spPr>
          <a:xfrm>
            <a:off x="696734" y="872613"/>
            <a:ext cx="5314154" cy="520106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nb-NO"/>
          </a:p>
        </p:txBody>
      </p:sp>
      <p:pic>
        <p:nvPicPr>
          <p:cNvPr id="10" name="Bilde 9">
            <a:extLst>
              <a:ext uri="{FF2B5EF4-FFF2-40B4-BE49-F238E27FC236}">
                <a16:creationId xmlns:a16="http://schemas.microsoft.com/office/drawing/2014/main" id="{84DCA5A0-DAAF-8A4D-BBAC-52733E00477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5616"/>
          <a:stretch/>
        </p:blipFill>
        <p:spPr>
          <a:xfrm>
            <a:off x="665283" y="1750175"/>
            <a:ext cx="411083" cy="3312891"/>
          </a:xfrm>
          <a:prstGeom prst="rect">
            <a:avLst/>
          </a:prstGeom>
        </p:spPr>
      </p:pic>
      <p:sp>
        <p:nvSpPr>
          <p:cNvPr id="11" name="Plassholder for innhold 3">
            <a:extLst>
              <a:ext uri="{FF2B5EF4-FFF2-40B4-BE49-F238E27FC236}">
                <a16:creationId xmlns:a16="http://schemas.microsoft.com/office/drawing/2014/main" id="{24105AA8-977A-8A43-8D3A-371E328A04C7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33522" y="872613"/>
            <a:ext cx="5314154" cy="5201060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685800" indent="-685800" algn="l">
              <a:buFont typeface="Arial" charset="0"/>
              <a:buChar char="•"/>
              <a:defRPr sz="5000" b="0" i="0">
                <a:solidFill>
                  <a:schemeClr val="tx1"/>
                </a:solidFill>
                <a:latin typeface="Gill Sans" charset="0"/>
                <a:ea typeface="Gill Sans" charset="0"/>
                <a:cs typeface="Gill Sans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</a:t>
            </a:r>
            <a:br>
              <a:rPr lang="nb-NO"/>
            </a:br>
            <a:r>
              <a:rPr lang="nb-NO"/>
              <a:t>å redigere </a:t>
            </a:r>
            <a:br>
              <a:rPr lang="nb-NO"/>
            </a:br>
            <a:r>
              <a:rPr lang="nb-NO"/>
              <a:t>tekststiler </a:t>
            </a:r>
            <a:br>
              <a:rPr lang="nb-NO"/>
            </a:br>
            <a:r>
              <a:rPr lang="nb-NO"/>
              <a:t>i malen</a:t>
            </a:r>
          </a:p>
        </p:txBody>
      </p:sp>
      <p:sp>
        <p:nvSpPr>
          <p:cNvPr id="12" name="Plassholder for innhold 3">
            <a:extLst>
              <a:ext uri="{FF2B5EF4-FFF2-40B4-BE49-F238E27FC236}">
                <a16:creationId xmlns:a16="http://schemas.microsoft.com/office/drawing/2014/main" id="{2AA1BD41-7AE6-8A4E-A47D-B6698FA88893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696734" y="872613"/>
            <a:ext cx="5314154" cy="5201060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5000" b="1">
                <a:solidFill>
                  <a:schemeClr val="bg1"/>
                </a:solidFill>
                <a:latin typeface="Garamond" panose="02020404030301010803" pitchFamily="18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</a:t>
            </a:r>
            <a:br>
              <a:rPr lang="nb-NO"/>
            </a:br>
            <a:r>
              <a:rPr lang="nb-NO"/>
              <a:t>å redigere </a:t>
            </a:r>
            <a:br>
              <a:rPr lang="nb-NO"/>
            </a:br>
            <a:r>
              <a:rPr lang="nb-NO"/>
              <a:t>tekststiler </a:t>
            </a:r>
            <a:br>
              <a:rPr lang="nb-NO"/>
            </a:br>
            <a:r>
              <a:rPr lang="nb-NO"/>
              <a:t>i malen</a:t>
            </a:r>
          </a:p>
        </p:txBody>
      </p:sp>
    </p:spTree>
    <p:extLst>
      <p:ext uri="{BB962C8B-B14F-4D97-AF65-F5344CB8AC3E}">
        <p14:creationId xmlns:p14="http://schemas.microsoft.com/office/powerpoint/2010/main" val="23199854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708368" y="1372177"/>
            <a:ext cx="5224938" cy="253269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6260135" y="1372177"/>
            <a:ext cx="5213565" cy="253269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1864684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o deler m/ farge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ktangel 13">
            <a:extLst>
              <a:ext uri="{FF2B5EF4-FFF2-40B4-BE49-F238E27FC236}">
                <a16:creationId xmlns:a16="http://schemas.microsoft.com/office/drawing/2014/main" id="{17D77DA3-3AFE-ED44-BB8C-2CB5B4C5AD36}"/>
              </a:ext>
            </a:extLst>
          </p:cNvPr>
          <p:cNvSpPr/>
          <p:nvPr userDrawn="1"/>
        </p:nvSpPr>
        <p:spPr>
          <a:xfrm>
            <a:off x="6333522" y="872613"/>
            <a:ext cx="5314154" cy="520106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nb-NO"/>
          </a:p>
        </p:txBody>
      </p:sp>
      <p:sp>
        <p:nvSpPr>
          <p:cNvPr id="15" name="Plassholder for innhold 3">
            <a:extLst>
              <a:ext uri="{FF2B5EF4-FFF2-40B4-BE49-F238E27FC236}">
                <a16:creationId xmlns:a16="http://schemas.microsoft.com/office/drawing/2014/main" id="{16854803-BD58-CB44-9D1D-5D2BF644EDB5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33522" y="872613"/>
            <a:ext cx="5314154" cy="5201060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5000" b="1">
                <a:solidFill>
                  <a:schemeClr val="bg1"/>
                </a:solidFill>
                <a:latin typeface="Garamond" panose="02020404030301010803" pitchFamily="18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</a:t>
            </a:r>
            <a:br>
              <a:rPr lang="nb-NO"/>
            </a:br>
            <a:r>
              <a:rPr lang="nb-NO"/>
              <a:t>å redigere </a:t>
            </a:r>
            <a:br>
              <a:rPr lang="nb-NO"/>
            </a:br>
            <a:r>
              <a:rPr lang="nb-NO"/>
              <a:t>tekststiler </a:t>
            </a:r>
            <a:br>
              <a:rPr lang="nb-NO"/>
            </a:br>
            <a:r>
              <a:rPr lang="nb-NO"/>
              <a:t>i malen</a:t>
            </a:r>
          </a:p>
        </p:txBody>
      </p:sp>
      <p:sp>
        <p:nvSpPr>
          <p:cNvPr id="6" name="Plassholder for innhold 3">
            <a:extLst>
              <a:ext uri="{FF2B5EF4-FFF2-40B4-BE49-F238E27FC236}">
                <a16:creationId xmlns:a16="http://schemas.microsoft.com/office/drawing/2014/main" id="{24105AA8-977A-8A43-8D3A-371E328A04C7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1076486" y="872613"/>
            <a:ext cx="4845303" cy="5201060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685800" marR="0" indent="-6858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 sz="5000" b="0" i="0">
                <a:solidFill>
                  <a:schemeClr val="tx1"/>
                </a:solidFill>
                <a:latin typeface="Gill Sans" charset="0"/>
                <a:ea typeface="Gill Sans" charset="0"/>
                <a:cs typeface="Gill Sans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</a:t>
            </a:r>
            <a:br>
              <a:rPr lang="nb-NO"/>
            </a:br>
            <a:r>
              <a:rPr lang="nb-NO"/>
              <a:t>å redigere </a:t>
            </a:r>
            <a:br>
              <a:rPr lang="nb-NO"/>
            </a:br>
            <a:r>
              <a:rPr lang="nb-NO"/>
              <a:t>tekststiler </a:t>
            </a:r>
            <a:br>
              <a:rPr lang="nb-NO"/>
            </a:br>
            <a:r>
              <a:rPr lang="nb-NO"/>
              <a:t>i malen</a:t>
            </a:r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150F4748-AED7-DE49-9E14-AC36DD01881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3136" t="1783" r="-3" b="-15317"/>
          <a:stretch/>
        </p:blipFill>
        <p:spPr>
          <a:xfrm>
            <a:off x="0" y="1776299"/>
            <a:ext cx="1076487" cy="3840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51383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/innhold rø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44108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rgbClr val="FFFFFF"/>
          </a:solidFill>
          <a:ln w="1270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89803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endParaRPr lang="nb-NO" sz="4000" b="1" i="0" baseline="0" err="1">
              <a:latin typeface="Garamond" panose="02020404030301010803" pitchFamily="18" charset="0"/>
              <a:ea typeface="+mj-ea"/>
              <a:cs typeface="+mj-cs"/>
              <a:sym typeface="Garamond" panose="02020404030301010803" pitchFamily="18" charset="0"/>
            </a:endParaRPr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D92CF51F-427D-AB47-BBC4-23C80066FF91}"/>
              </a:ext>
            </a:extLst>
          </p:cNvPr>
          <p:cNvSpPr/>
          <p:nvPr userDrawn="1"/>
        </p:nvSpPr>
        <p:spPr>
          <a:xfrm>
            <a:off x="-67733" y="0"/>
            <a:ext cx="12259733" cy="685800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/>
            <a:endParaRPr lang="nb-NO"/>
          </a:p>
        </p:txBody>
      </p:sp>
      <p:sp>
        <p:nvSpPr>
          <p:cNvPr id="11" name="Tittel 1">
            <a:extLst>
              <a:ext uri="{FF2B5EF4-FFF2-40B4-BE49-F238E27FC236}">
                <a16:creationId xmlns:a16="http://schemas.microsoft.com/office/drawing/2014/main" id="{66AA460B-A23D-2F42-B7F4-89A0A21DD1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48096" y="1606041"/>
            <a:ext cx="9716589" cy="728945"/>
          </a:xfrm>
        </p:spPr>
        <p:txBody>
          <a:bodyPr/>
          <a:lstStyle>
            <a:lvl1pPr algn="l">
              <a:defRPr b="1" i="0" u="none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2" name="Plassholder for innhold 2">
            <a:extLst>
              <a:ext uri="{FF2B5EF4-FFF2-40B4-BE49-F238E27FC236}">
                <a16:creationId xmlns:a16="http://schemas.microsoft.com/office/drawing/2014/main" id="{7ADCF548-C84B-9241-82A4-BACEF75F8B5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48097" y="2481944"/>
            <a:ext cx="9716589" cy="396030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84DCA5A0-DAAF-8A4D-BBAC-52733E00477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1993"/>
          <a:stretch/>
        </p:blipFill>
        <p:spPr>
          <a:xfrm>
            <a:off x="-9831" y="1750175"/>
            <a:ext cx="1086198" cy="3312891"/>
          </a:xfrm>
          <a:prstGeom prst="rect">
            <a:avLst/>
          </a:prstGeom>
        </p:spPr>
      </p:pic>
      <p:pic>
        <p:nvPicPr>
          <p:cNvPr id="13" name="Bilde 12">
            <a:extLst>
              <a:ext uri="{FF2B5EF4-FFF2-40B4-BE49-F238E27FC236}">
                <a16:creationId xmlns:a16="http://schemas.microsoft.com/office/drawing/2014/main" id="{04FECB73-9D2C-AB46-B054-1C098E9BB48C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7970" y="2117939"/>
            <a:ext cx="628036" cy="728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14824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 en d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33475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5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rgbClr val="FFFFFF"/>
          </a:solidFill>
          <a:ln w="1270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89803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endParaRPr lang="nb-NO" sz="4000" b="1" i="0" baseline="0" err="1">
              <a:latin typeface="Garamond" panose="02020404030301010803" pitchFamily="18" charset="0"/>
              <a:ea typeface="+mj-ea"/>
              <a:cs typeface="+mj-cs"/>
              <a:sym typeface="Garamond" panose="02020404030301010803" pitchFamily="18" charset="0"/>
            </a:endParaRP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3E645192-E794-AF45-A031-B0A3E22A6F64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1332411" y="1673432"/>
            <a:ext cx="10021388" cy="4351338"/>
          </a:xfrm>
          <a:prstGeom prst="rect">
            <a:avLst/>
          </a:prstGeom>
        </p:spPr>
        <p:txBody>
          <a:bodyPr anchor="t"/>
          <a:lstStyle>
            <a:lvl1pPr algn="l"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24" name="Tittel 1">
            <a:extLst>
              <a:ext uri="{FF2B5EF4-FFF2-40B4-BE49-F238E27FC236}">
                <a16:creationId xmlns:a16="http://schemas.microsoft.com/office/drawing/2014/main" id="{259B21FD-5709-F34A-9EA4-119ACB539A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32410" y="230841"/>
            <a:ext cx="10021389" cy="1325563"/>
          </a:xfrm>
        </p:spPr>
        <p:txBody>
          <a:bodyPr/>
          <a:lstStyle>
            <a:lvl1pPr algn="l">
              <a:defRPr b="1" i="0" u="none">
                <a:solidFill>
                  <a:schemeClr val="tx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150F4748-AED7-DE49-9E14-AC36DD01881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3136" t="1783" r="-3" b="-15317"/>
          <a:stretch/>
        </p:blipFill>
        <p:spPr>
          <a:xfrm>
            <a:off x="0" y="1776299"/>
            <a:ext cx="1076487" cy="3840728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 to 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65564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9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rgbClr val="FFFFFF"/>
          </a:solidFill>
          <a:ln w="1270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89803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endParaRPr lang="nb-NO" sz="4000" b="1" i="0" baseline="0" err="1">
              <a:latin typeface="Garamond" panose="02020404030301010803" pitchFamily="18" charset="0"/>
              <a:ea typeface="+mj-ea"/>
              <a:cs typeface="+mj-cs"/>
              <a:sym typeface="Garamond" panose="02020404030301010803" pitchFamily="18" charset="0"/>
            </a:endParaRP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3E645192-E794-AF45-A031-B0A3E22A6F64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1332411" y="1673432"/>
            <a:ext cx="4645055" cy="4351338"/>
          </a:xfrm>
          <a:prstGeom prst="rect">
            <a:avLst/>
          </a:prstGeom>
        </p:spPr>
        <p:txBody>
          <a:bodyPr anchor="t"/>
          <a:lstStyle>
            <a:lvl1pPr algn="l"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11" name="Plassholder for innhold 5">
            <a:extLst>
              <a:ext uri="{FF2B5EF4-FFF2-40B4-BE49-F238E27FC236}">
                <a16:creationId xmlns:a16="http://schemas.microsoft.com/office/drawing/2014/main" id="{368DE0A9-2298-BD49-960F-D37C9A9EDD4E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282267" y="1673432"/>
            <a:ext cx="5071533" cy="4351338"/>
          </a:xfrm>
          <a:prstGeom prst="rect">
            <a:avLst/>
          </a:prstGeom>
        </p:spPr>
        <p:txBody>
          <a:bodyPr anchor="t"/>
          <a:lstStyle>
            <a:lvl1pPr algn="l"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24" name="Tittel 1">
            <a:extLst>
              <a:ext uri="{FF2B5EF4-FFF2-40B4-BE49-F238E27FC236}">
                <a16:creationId xmlns:a16="http://schemas.microsoft.com/office/drawing/2014/main" id="{259B21FD-5709-F34A-9EA4-119ACB539A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32410" y="230841"/>
            <a:ext cx="10021389" cy="1325563"/>
          </a:xfrm>
        </p:spPr>
        <p:txBody>
          <a:bodyPr/>
          <a:lstStyle>
            <a:lvl1pPr algn="l">
              <a:defRPr b="1" i="0" u="none">
                <a:solidFill>
                  <a:schemeClr val="tx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150F4748-AED7-DE49-9E14-AC36DD01881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3136" t="1783" r="-3" b="-15317"/>
          <a:stretch/>
        </p:blipFill>
        <p:spPr>
          <a:xfrm>
            <a:off x="0" y="1776299"/>
            <a:ext cx="1076487" cy="3840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2341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 to deler m/ 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986197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3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rgbClr val="FFFFFF"/>
          </a:solidFill>
          <a:ln w="1270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89803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endParaRPr lang="nb-NO" sz="4000" b="1" i="0" baseline="0" err="1">
              <a:latin typeface="Garamond" panose="02020404030301010803" pitchFamily="18" charset="0"/>
              <a:ea typeface="+mj-ea"/>
              <a:cs typeface="+mj-cs"/>
              <a:sym typeface="Garamond" panose="02020404030301010803" pitchFamily="18" charset="0"/>
            </a:endParaRP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3E645192-E794-AF45-A031-B0A3E22A6F64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1332411" y="2404532"/>
            <a:ext cx="4645055" cy="3620237"/>
          </a:xfrm>
          <a:prstGeom prst="rect">
            <a:avLst/>
          </a:prstGeom>
        </p:spPr>
        <p:txBody>
          <a:bodyPr anchor="t"/>
          <a:lstStyle>
            <a:lvl1pPr algn="l"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14" name="Plassholder for innhold 5">
            <a:extLst>
              <a:ext uri="{FF2B5EF4-FFF2-40B4-BE49-F238E27FC236}">
                <a16:creationId xmlns:a16="http://schemas.microsoft.com/office/drawing/2014/main" id="{6867F8CE-432F-844E-9B05-36149B1DEDBD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290733" y="2404532"/>
            <a:ext cx="5139267" cy="3620237"/>
          </a:xfrm>
          <a:prstGeom prst="rect">
            <a:avLst/>
          </a:prstGeom>
        </p:spPr>
        <p:txBody>
          <a:bodyPr anchor="t"/>
          <a:lstStyle>
            <a:lvl1pPr algn="l"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16" name="Tittel 1">
            <a:extLst>
              <a:ext uri="{FF2B5EF4-FFF2-40B4-BE49-F238E27FC236}">
                <a16:creationId xmlns:a16="http://schemas.microsoft.com/office/drawing/2014/main" id="{631C04E5-AB2B-344C-A160-5AE6EF7F07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32411" y="215982"/>
            <a:ext cx="10259676" cy="1325563"/>
          </a:xfrm>
        </p:spPr>
        <p:txBody>
          <a:bodyPr/>
          <a:lstStyle>
            <a:lvl1pPr algn="l">
              <a:defRPr b="1" i="0" u="none">
                <a:solidFill>
                  <a:schemeClr val="tx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9" name="Plassholder for tekst 6">
            <a:extLst>
              <a:ext uri="{FF2B5EF4-FFF2-40B4-BE49-F238E27FC236}">
                <a16:creationId xmlns:a16="http://schemas.microsoft.com/office/drawing/2014/main" id="{6BEBBB34-DF82-8A42-B70F-9A3B15CEEB3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332411" y="1730261"/>
            <a:ext cx="4730251" cy="465667"/>
          </a:xfrm>
        </p:spPr>
        <p:txBody>
          <a:bodyPr>
            <a:noAutofit/>
          </a:bodyPr>
          <a:lstStyle>
            <a:lvl1pPr marL="0" indent="0">
              <a:buNone/>
              <a:defRPr sz="3000" b="1">
                <a:latin typeface="Garamond" panose="02020404030301010803" pitchFamily="18" charset="0"/>
              </a:defRPr>
            </a:lvl1pPr>
            <a:lvl2pPr marL="457200" indent="0">
              <a:buNone/>
              <a:defRPr sz="3000" b="1">
                <a:latin typeface="Garamond" panose="02020404030301010803" pitchFamily="18" charset="0"/>
              </a:defRPr>
            </a:lvl2pPr>
            <a:lvl3pPr marL="914400" indent="0">
              <a:buNone/>
              <a:defRPr sz="3000" b="1">
                <a:latin typeface="Garamond" panose="02020404030301010803" pitchFamily="18" charset="0"/>
              </a:defRPr>
            </a:lvl3pPr>
            <a:lvl4pPr marL="1371600" indent="0">
              <a:buNone/>
              <a:defRPr sz="3000" b="1">
                <a:latin typeface="Garamond" panose="02020404030301010803" pitchFamily="18" charset="0"/>
              </a:defRPr>
            </a:lvl4pPr>
            <a:lvl5pPr marL="1828800" indent="0">
              <a:buNone/>
              <a:defRPr sz="3000" b="1">
                <a:latin typeface="Garamond" panose="02020404030301010803" pitchFamily="18" charset="0"/>
              </a:defRPr>
            </a:lvl5pPr>
          </a:lstStyle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20" name="Plassholder for tekst 6">
            <a:extLst>
              <a:ext uri="{FF2B5EF4-FFF2-40B4-BE49-F238E27FC236}">
                <a16:creationId xmlns:a16="http://schemas.microsoft.com/office/drawing/2014/main" id="{78543196-CD03-E84F-9AC9-99E54735565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90733" y="1730261"/>
            <a:ext cx="5224463" cy="465667"/>
          </a:xfrm>
        </p:spPr>
        <p:txBody>
          <a:bodyPr>
            <a:noAutofit/>
          </a:bodyPr>
          <a:lstStyle>
            <a:lvl1pPr marL="0" indent="0">
              <a:buNone/>
              <a:defRPr sz="3000" b="1">
                <a:latin typeface="Garamond" panose="02020404030301010803" pitchFamily="18" charset="0"/>
              </a:defRPr>
            </a:lvl1pPr>
            <a:lvl2pPr marL="457200" indent="0">
              <a:buNone/>
              <a:defRPr sz="3000" b="1">
                <a:latin typeface="Garamond" panose="02020404030301010803" pitchFamily="18" charset="0"/>
              </a:defRPr>
            </a:lvl2pPr>
            <a:lvl3pPr marL="914400" indent="0">
              <a:buNone/>
              <a:defRPr sz="3000" b="1">
                <a:latin typeface="Garamond" panose="02020404030301010803" pitchFamily="18" charset="0"/>
              </a:defRPr>
            </a:lvl3pPr>
            <a:lvl4pPr marL="1371600" indent="0">
              <a:buNone/>
              <a:defRPr sz="3000" b="1">
                <a:latin typeface="Garamond" panose="02020404030301010803" pitchFamily="18" charset="0"/>
              </a:defRPr>
            </a:lvl4pPr>
            <a:lvl5pPr marL="1828800" indent="0">
              <a:buNone/>
              <a:defRPr sz="3000" b="1">
                <a:latin typeface="Garamond" panose="02020404030301010803" pitchFamily="18" charset="0"/>
              </a:defRPr>
            </a:lvl5pPr>
          </a:lstStyle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pic>
        <p:nvPicPr>
          <p:cNvPr id="9" name="Bilde 8">
            <a:extLst>
              <a:ext uri="{FF2B5EF4-FFF2-40B4-BE49-F238E27FC236}">
                <a16:creationId xmlns:a16="http://schemas.microsoft.com/office/drawing/2014/main" id="{150F4748-AED7-DE49-9E14-AC36DD01881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3136" t="1783" r="-3" b="-15317"/>
          <a:stretch/>
        </p:blipFill>
        <p:spPr>
          <a:xfrm>
            <a:off x="0" y="1776299"/>
            <a:ext cx="1076487" cy="3840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2852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18" Type="http://schemas.openxmlformats.org/officeDocument/2006/relationships/slideLayout" Target="../slideLayouts/slideLayout34.xml"/><Relationship Id="rId26" Type="http://schemas.openxmlformats.org/officeDocument/2006/relationships/vmlDrawing" Target="../drawings/vmlDrawing13.vml"/><Relationship Id="rId3" Type="http://schemas.openxmlformats.org/officeDocument/2006/relationships/slideLayout" Target="../slideLayouts/slideLayout19.xml"/><Relationship Id="rId21" Type="http://schemas.openxmlformats.org/officeDocument/2006/relationships/slideLayout" Target="../slideLayouts/slideLayout37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17" Type="http://schemas.openxmlformats.org/officeDocument/2006/relationships/slideLayout" Target="../slideLayouts/slideLayout33.xml"/><Relationship Id="rId25" Type="http://schemas.openxmlformats.org/officeDocument/2006/relationships/theme" Target="../theme/theme2.xml"/><Relationship Id="rId2" Type="http://schemas.openxmlformats.org/officeDocument/2006/relationships/slideLayout" Target="../slideLayouts/slideLayout18.xml"/><Relationship Id="rId16" Type="http://schemas.openxmlformats.org/officeDocument/2006/relationships/slideLayout" Target="../slideLayouts/slideLayout32.xml"/><Relationship Id="rId20" Type="http://schemas.openxmlformats.org/officeDocument/2006/relationships/slideLayout" Target="../slideLayouts/slideLayout36.xml"/><Relationship Id="rId29" Type="http://schemas.openxmlformats.org/officeDocument/2006/relationships/oleObject" Target="../embeddings/oleObject13.bin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24" Type="http://schemas.openxmlformats.org/officeDocument/2006/relationships/slideLayout" Target="../slideLayouts/slideLayout40.xml"/><Relationship Id="rId5" Type="http://schemas.openxmlformats.org/officeDocument/2006/relationships/slideLayout" Target="../slideLayouts/slideLayout21.xml"/><Relationship Id="rId15" Type="http://schemas.openxmlformats.org/officeDocument/2006/relationships/slideLayout" Target="../slideLayouts/slideLayout31.xml"/><Relationship Id="rId23" Type="http://schemas.openxmlformats.org/officeDocument/2006/relationships/slideLayout" Target="../slideLayouts/slideLayout39.xml"/><Relationship Id="rId28" Type="http://schemas.openxmlformats.org/officeDocument/2006/relationships/tags" Target="../tags/tag27.xml"/><Relationship Id="rId10" Type="http://schemas.openxmlformats.org/officeDocument/2006/relationships/slideLayout" Target="../slideLayouts/slideLayout26.xml"/><Relationship Id="rId19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slideLayout" Target="../slideLayouts/slideLayout30.xml"/><Relationship Id="rId22" Type="http://schemas.openxmlformats.org/officeDocument/2006/relationships/slideLayout" Target="../slideLayouts/slideLayout38.xml"/><Relationship Id="rId27" Type="http://schemas.openxmlformats.org/officeDocument/2006/relationships/tags" Target="../tags/tag26.xml"/><Relationship Id="rId30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23476279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21" imgW="395" imgH="394" progId="TCLayout.ActiveDocument.1">
                  <p:embed/>
                </p:oleObj>
              </mc:Choice>
              <mc:Fallback>
                <p:oleObj name="think-cell Slide" r:id="rId21" imgW="395" imgH="39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0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rgbClr val="FFFFFF"/>
          </a:solidFill>
          <a:ln w="1270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89803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endParaRPr lang="nb-NO" sz="2800" b="1" i="0" baseline="0" err="1">
              <a:latin typeface="Garamond" panose="02020404030301010803" pitchFamily="18" charset="0"/>
              <a:ea typeface="+mj-ea"/>
              <a:cs typeface="+mj-cs"/>
              <a:sym typeface="Garamond" panose="02020404030301010803" pitchFamily="18" charset="0"/>
            </a:endParaRPr>
          </a:p>
        </p:txBody>
      </p:sp>
      <p:sp>
        <p:nvSpPr>
          <p:cNvPr id="7" name="Plassholder for tittel 1">
            <a:extLst>
              <a:ext uri="{FF2B5EF4-FFF2-40B4-BE49-F238E27FC236}">
                <a16:creationId xmlns:a16="http://schemas.microsoft.com/office/drawing/2014/main" id="{B391C282-E515-0F4D-B0EB-DD11A8FEB1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tekst 2">
            <a:extLst>
              <a:ext uri="{FF2B5EF4-FFF2-40B4-BE49-F238E27FC236}">
                <a16:creationId xmlns:a16="http://schemas.microsoft.com/office/drawing/2014/main" id="{1BD14F5D-FAA8-6942-9AAD-0DD9E3AB3C0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3341129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0" r:id="rId2"/>
    <p:sldLayoutId id="2147483693" r:id="rId3"/>
    <p:sldLayoutId id="2147483694" r:id="rId4"/>
    <p:sldLayoutId id="2147483695" r:id="rId5"/>
    <p:sldLayoutId id="2147483692" r:id="rId6"/>
    <p:sldLayoutId id="2147483701" r:id="rId7"/>
    <p:sldLayoutId id="2147483699" r:id="rId8"/>
    <p:sldLayoutId id="2147483700" r:id="rId9"/>
    <p:sldLayoutId id="2147483705" r:id="rId10"/>
    <p:sldLayoutId id="2147483696" r:id="rId11"/>
    <p:sldLayoutId id="2147483698" r:id="rId12"/>
    <p:sldLayoutId id="2147483724" r:id="rId13"/>
    <p:sldLayoutId id="2147483727" r:id="rId14"/>
    <p:sldLayoutId id="2147483728" r:id="rId15"/>
    <p:sldLayoutId id="2147483729" r:id="rId1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Garamond" panose="02020404030301010803" pitchFamily="18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Gill Sans MT" panose="020B0502020104020203" pitchFamily="34" charset="77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Gill Sans MT" panose="020B0502020104020203" pitchFamily="34" charset="77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Gill Sans MT" panose="020B0502020104020203" pitchFamily="34" charset="77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Gill Sans MT" panose="020B0502020104020203" pitchFamily="34" charset="77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Gill Sans MT" panose="020B0502020104020203" pitchFamily="34" charset="77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7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3" name="think-cell Slide" r:id="rId29" imgW="473" imgH="473" progId="TCLayout.ActiveDocument.1">
                  <p:embed/>
                </p:oleObj>
              </mc:Choice>
              <mc:Fallback>
                <p:oleObj name="think-cell Slide" r:id="rId29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nb-NO" sz="2800" b="1" i="0" baseline="0">
              <a:latin typeface="Garamond" panose="02020404030301010803" pitchFamily="18" charset="0"/>
              <a:ea typeface="+mj-ea"/>
              <a:cs typeface="+mj-cs"/>
              <a:sym typeface="Garamond" panose="02020404030301010803" pitchFamily="18" charset="0"/>
            </a:endParaRPr>
          </a:p>
        </p:txBody>
      </p:sp>
      <p:sp>
        <p:nvSpPr>
          <p:cNvPr id="7" name="Plassholder for tittel 1">
            <a:extLst>
              <a:ext uri="{FF2B5EF4-FFF2-40B4-BE49-F238E27FC236}">
                <a16:creationId xmlns:a16="http://schemas.microsoft.com/office/drawing/2014/main" id="{B391C282-E515-0F4D-B0EB-DD11A8FEB1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tekst 2">
            <a:extLst>
              <a:ext uri="{FF2B5EF4-FFF2-40B4-BE49-F238E27FC236}">
                <a16:creationId xmlns:a16="http://schemas.microsoft.com/office/drawing/2014/main" id="{1BD14F5D-FAA8-6942-9AAD-0DD9E3AB3C0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9FCB72A6-9D7E-2046-A54D-EE6031C201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B342387-4C64-2345-844A-655F6DE07248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1838882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1" r:id="rId1"/>
    <p:sldLayoutId id="2147483732" r:id="rId2"/>
    <p:sldLayoutId id="2147483733" r:id="rId3"/>
    <p:sldLayoutId id="2147483734" r:id="rId4"/>
    <p:sldLayoutId id="2147483735" r:id="rId5"/>
    <p:sldLayoutId id="2147483736" r:id="rId6"/>
    <p:sldLayoutId id="2147483737" r:id="rId7"/>
    <p:sldLayoutId id="2147483738" r:id="rId8"/>
    <p:sldLayoutId id="2147483739" r:id="rId9"/>
    <p:sldLayoutId id="2147483740" r:id="rId10"/>
    <p:sldLayoutId id="2147483741" r:id="rId11"/>
    <p:sldLayoutId id="2147483742" r:id="rId12"/>
    <p:sldLayoutId id="2147483743" r:id="rId13"/>
    <p:sldLayoutId id="2147483744" r:id="rId14"/>
    <p:sldLayoutId id="2147483745" r:id="rId15"/>
    <p:sldLayoutId id="2147483746" r:id="rId16"/>
    <p:sldLayoutId id="2147483747" r:id="rId17"/>
    <p:sldLayoutId id="2147483748" r:id="rId18"/>
    <p:sldLayoutId id="2147483749" r:id="rId19"/>
    <p:sldLayoutId id="2147483750" r:id="rId20"/>
    <p:sldLayoutId id="2147483751" r:id="rId21"/>
    <p:sldLayoutId id="2147483752" r:id="rId22"/>
    <p:sldLayoutId id="2147483753" r:id="rId23"/>
    <p:sldLayoutId id="2147483754" r:id="rId2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Garamond" panose="02020404030301010803" pitchFamily="18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Gill Sans MT" panose="020B0502020104020203" pitchFamily="34" charset="77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Gill Sans MT" panose="020B0502020104020203" pitchFamily="34" charset="77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Gill Sans MT" panose="020B0502020104020203" pitchFamily="34" charset="77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Gill Sans MT" panose="020B0502020104020203" pitchFamily="34" charset="77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Gill Sans MT" panose="020B0502020104020203" pitchFamily="34" charset="77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61.xml"/><Relationship Id="rId7" Type="http://schemas.openxmlformats.org/officeDocument/2006/relationships/image" Target="../media/image18.jpeg"/><Relationship Id="rId2" Type="http://schemas.openxmlformats.org/officeDocument/2006/relationships/tags" Target="../tags/tag60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13" Type="http://schemas.openxmlformats.org/officeDocument/2006/relationships/image" Target="../media/image26.svg"/><Relationship Id="rId18" Type="http://schemas.openxmlformats.org/officeDocument/2006/relationships/image" Target="../media/image31.png"/><Relationship Id="rId26" Type="http://schemas.openxmlformats.org/officeDocument/2006/relationships/image" Target="../media/image39.png"/><Relationship Id="rId3" Type="http://schemas.openxmlformats.org/officeDocument/2006/relationships/tags" Target="../tags/tag63.xml"/><Relationship Id="rId21" Type="http://schemas.openxmlformats.org/officeDocument/2006/relationships/image" Target="../media/image34.svg"/><Relationship Id="rId7" Type="http://schemas.openxmlformats.org/officeDocument/2006/relationships/image" Target="../media/image20.png"/><Relationship Id="rId12" Type="http://schemas.openxmlformats.org/officeDocument/2006/relationships/image" Target="../media/image25.png"/><Relationship Id="rId17" Type="http://schemas.openxmlformats.org/officeDocument/2006/relationships/image" Target="../media/image30.svg"/><Relationship Id="rId25" Type="http://schemas.openxmlformats.org/officeDocument/2006/relationships/image" Target="../media/image38.svg"/><Relationship Id="rId2" Type="http://schemas.openxmlformats.org/officeDocument/2006/relationships/tags" Target="../tags/tag62.xml"/><Relationship Id="rId16" Type="http://schemas.openxmlformats.org/officeDocument/2006/relationships/image" Target="../media/image29.png"/><Relationship Id="rId20" Type="http://schemas.openxmlformats.org/officeDocument/2006/relationships/image" Target="../media/image33.png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9.emf"/><Relationship Id="rId11" Type="http://schemas.openxmlformats.org/officeDocument/2006/relationships/image" Target="../media/image24.svg"/><Relationship Id="rId24" Type="http://schemas.openxmlformats.org/officeDocument/2006/relationships/image" Target="../media/image37.png"/><Relationship Id="rId5" Type="http://schemas.openxmlformats.org/officeDocument/2006/relationships/oleObject" Target="../embeddings/oleObject29.bin"/><Relationship Id="rId15" Type="http://schemas.openxmlformats.org/officeDocument/2006/relationships/image" Target="../media/image28.svg"/><Relationship Id="rId23" Type="http://schemas.openxmlformats.org/officeDocument/2006/relationships/image" Target="../media/image36.svg"/><Relationship Id="rId28" Type="http://schemas.openxmlformats.org/officeDocument/2006/relationships/image" Target="../media/image41.png"/><Relationship Id="rId10" Type="http://schemas.openxmlformats.org/officeDocument/2006/relationships/image" Target="../media/image23.png"/><Relationship Id="rId19" Type="http://schemas.openxmlformats.org/officeDocument/2006/relationships/image" Target="../media/image32.svg"/><Relationship Id="rId4" Type="http://schemas.openxmlformats.org/officeDocument/2006/relationships/slideLayout" Target="../slideLayouts/slideLayout33.xml"/><Relationship Id="rId9" Type="http://schemas.openxmlformats.org/officeDocument/2006/relationships/image" Target="../media/image22.svg"/><Relationship Id="rId14" Type="http://schemas.openxmlformats.org/officeDocument/2006/relationships/image" Target="../media/image27.png"/><Relationship Id="rId22" Type="http://schemas.openxmlformats.org/officeDocument/2006/relationships/image" Target="../media/image35.png"/><Relationship Id="rId27" Type="http://schemas.openxmlformats.org/officeDocument/2006/relationships/image" Target="../media/image40.sv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13" Type="http://schemas.openxmlformats.org/officeDocument/2006/relationships/image" Target="../media/image27.png"/><Relationship Id="rId18" Type="http://schemas.openxmlformats.org/officeDocument/2006/relationships/image" Target="../media/image32.svg"/><Relationship Id="rId26" Type="http://schemas.openxmlformats.org/officeDocument/2006/relationships/image" Target="../media/image40.svg"/><Relationship Id="rId3" Type="http://schemas.openxmlformats.org/officeDocument/2006/relationships/tags" Target="../tags/tag65.xml"/><Relationship Id="rId21" Type="http://schemas.openxmlformats.org/officeDocument/2006/relationships/image" Target="../media/image21.png"/><Relationship Id="rId7" Type="http://schemas.openxmlformats.org/officeDocument/2006/relationships/chart" Target="../charts/chart1.xml"/><Relationship Id="rId12" Type="http://schemas.openxmlformats.org/officeDocument/2006/relationships/image" Target="../media/image36.svg"/><Relationship Id="rId17" Type="http://schemas.openxmlformats.org/officeDocument/2006/relationships/image" Target="../media/image31.png"/><Relationship Id="rId25" Type="http://schemas.openxmlformats.org/officeDocument/2006/relationships/image" Target="../media/image39.png"/><Relationship Id="rId2" Type="http://schemas.openxmlformats.org/officeDocument/2006/relationships/tags" Target="../tags/tag64.xml"/><Relationship Id="rId16" Type="http://schemas.openxmlformats.org/officeDocument/2006/relationships/image" Target="../media/image30.svg"/><Relationship Id="rId20" Type="http://schemas.openxmlformats.org/officeDocument/2006/relationships/image" Target="../media/image34.svg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.emf"/><Relationship Id="rId11" Type="http://schemas.openxmlformats.org/officeDocument/2006/relationships/image" Target="../media/image35.png"/><Relationship Id="rId24" Type="http://schemas.openxmlformats.org/officeDocument/2006/relationships/image" Target="../media/image24.svg"/><Relationship Id="rId5" Type="http://schemas.openxmlformats.org/officeDocument/2006/relationships/oleObject" Target="../embeddings/oleObject30.bin"/><Relationship Id="rId15" Type="http://schemas.openxmlformats.org/officeDocument/2006/relationships/image" Target="../media/image29.png"/><Relationship Id="rId23" Type="http://schemas.openxmlformats.org/officeDocument/2006/relationships/image" Target="../media/image23.png"/><Relationship Id="rId10" Type="http://schemas.openxmlformats.org/officeDocument/2006/relationships/image" Target="../media/image38.svg"/><Relationship Id="rId19" Type="http://schemas.openxmlformats.org/officeDocument/2006/relationships/image" Target="../media/image33.png"/><Relationship Id="rId4" Type="http://schemas.openxmlformats.org/officeDocument/2006/relationships/slideLayout" Target="../slideLayouts/slideLayout16.xml"/><Relationship Id="rId9" Type="http://schemas.openxmlformats.org/officeDocument/2006/relationships/image" Target="../media/image37.png"/><Relationship Id="rId14" Type="http://schemas.openxmlformats.org/officeDocument/2006/relationships/image" Target="../media/image28.svg"/><Relationship Id="rId22" Type="http://schemas.openxmlformats.org/officeDocument/2006/relationships/image" Target="../media/image22.svg"/><Relationship Id="rId27" Type="http://schemas.openxmlformats.org/officeDocument/2006/relationships/image" Target="../media/image41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svg"/><Relationship Id="rId3" Type="http://schemas.openxmlformats.org/officeDocument/2006/relationships/tags" Target="../tags/tag67.xml"/><Relationship Id="rId7" Type="http://schemas.openxmlformats.org/officeDocument/2006/relationships/image" Target="../media/image21.png"/><Relationship Id="rId2" Type="http://schemas.openxmlformats.org/officeDocument/2006/relationships/tags" Target="../tags/tag66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10" Type="http://schemas.openxmlformats.org/officeDocument/2006/relationships/image" Target="../media/image24.svg"/><Relationship Id="rId4" Type="http://schemas.openxmlformats.org/officeDocument/2006/relationships/slideLayout" Target="../slideLayouts/slideLayout16.xml"/><Relationship Id="rId9" Type="http://schemas.openxmlformats.org/officeDocument/2006/relationships/image" Target="../media/image23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ssb.no/befolkning/statistikker/folkemengde/aar-per-1-januar" TargetMode="External"/><Relationship Id="rId3" Type="http://schemas.openxmlformats.org/officeDocument/2006/relationships/tags" Target="../tags/tag69.xml"/><Relationship Id="rId7" Type="http://schemas.openxmlformats.org/officeDocument/2006/relationships/hyperlink" Target="https://www.ssb.no/kommunefakta" TargetMode="External"/><Relationship Id="rId2" Type="http://schemas.openxmlformats.org/officeDocument/2006/relationships/tags" Target="../tags/tag68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2.bin"/><Relationship Id="rId4" Type="http://schemas.openxmlformats.org/officeDocument/2006/relationships/slideLayout" Target="../slideLayouts/slideLayout16.xml"/><Relationship Id="rId9" Type="http://schemas.openxmlformats.org/officeDocument/2006/relationships/hyperlink" Target="https://www.ssb.no/kommunefakta/kostra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E6B7E2E-BE80-4028-819C-DD0AAAA033A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34803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3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9E6B7E2E-BE80-4028-819C-DD0AAAA033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80E381A9-AD07-4CFF-ACF1-FADCDFA2C14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nb-NO" sz="4300" b="1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aramond" panose="02020404030301010803" pitchFamily="18" charset="0"/>
              <a:ea typeface="+mj-ea"/>
              <a:cs typeface="+mj-cs"/>
              <a:sym typeface="Garamond" panose="02020404030301010803" pitchFamily="18" charset="0"/>
            </a:endParaRPr>
          </a:p>
        </p:txBody>
      </p:sp>
      <p:pic>
        <p:nvPicPr>
          <p:cNvPr id="4" name="Picture 3" descr="A picture containing indoor, cake&#10;&#10;Description generated with high confidence">
            <a:extLst>
              <a:ext uri="{FF2B5EF4-FFF2-40B4-BE49-F238E27FC236}">
                <a16:creationId xmlns:a16="http://schemas.microsoft.com/office/drawing/2014/main" id="{41842428-3012-4719-A537-E94FD55665AF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4760" r="4739"/>
          <a:stretch/>
        </p:blipFill>
        <p:spPr>
          <a:xfrm>
            <a:off x="3176" y="3176"/>
            <a:ext cx="12188824" cy="685482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E9F67A4-F624-48FB-85AF-3C1271319F7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06244" y="392069"/>
            <a:ext cx="10579512" cy="1232336"/>
          </a:xfrm>
        </p:spPr>
        <p:txBody>
          <a:bodyPr>
            <a:normAutofit fontScale="90000"/>
          </a:bodyPr>
          <a:lstStyle/>
          <a:p>
            <a:r>
              <a:rPr lang="nb-NO"/>
              <a:t>Frelsesarmeens verktøy for vurdering av geografiske områder</a:t>
            </a:r>
          </a:p>
        </p:txBody>
      </p:sp>
      <p:pic>
        <p:nvPicPr>
          <p:cNvPr id="9" name="Bilde 9">
            <a:extLst>
              <a:ext uri="{FF2B5EF4-FFF2-40B4-BE49-F238E27FC236}">
                <a16:creationId xmlns:a16="http://schemas.microsoft.com/office/drawing/2014/main" id="{488DAD1E-6A67-4CB3-89E6-BFAAF75B6CD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24782" y="4901811"/>
            <a:ext cx="1349329" cy="1564120"/>
          </a:xfrm>
          <a:prstGeom prst="rect">
            <a:avLst/>
          </a:prstGeom>
        </p:spPr>
      </p:pic>
      <p:sp>
        <p:nvSpPr>
          <p:cNvPr id="13" name="Subtitle 12">
            <a:extLst>
              <a:ext uri="{FF2B5EF4-FFF2-40B4-BE49-F238E27FC236}">
                <a16:creationId xmlns:a16="http://schemas.microsoft.com/office/drawing/2014/main" id="{1F449803-321A-4C37-9201-00D4CE5ADF7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06244" y="1792943"/>
            <a:ext cx="9144000" cy="1027240"/>
          </a:xfrm>
        </p:spPr>
        <p:txBody>
          <a:bodyPr/>
          <a:lstStyle/>
          <a:p>
            <a:r>
              <a:rPr lang="nb-NO"/>
              <a:t>- Hvor bør Frelsesarmeen være lokalisert?</a:t>
            </a:r>
          </a:p>
        </p:txBody>
      </p:sp>
    </p:spTree>
    <p:extLst>
      <p:ext uri="{BB962C8B-B14F-4D97-AF65-F5344CB8AC3E}">
        <p14:creationId xmlns:p14="http://schemas.microsoft.com/office/powerpoint/2010/main" val="2635799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ct 32" hidden="1">
            <a:extLst>
              <a:ext uri="{FF2B5EF4-FFF2-40B4-BE49-F238E27FC236}">
                <a16:creationId xmlns:a16="http://schemas.microsoft.com/office/drawing/2014/main" id="{388B177B-5C4B-48FD-AF23-79CCB16E928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9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3" name="Object 32" hidden="1">
                        <a:extLst>
                          <a:ext uri="{FF2B5EF4-FFF2-40B4-BE49-F238E27FC236}">
                            <a16:creationId xmlns:a16="http://schemas.microsoft.com/office/drawing/2014/main" id="{388B177B-5C4B-48FD-AF23-79CCB16E92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 hidden="1">
            <a:extLst>
              <a:ext uri="{FF2B5EF4-FFF2-40B4-BE49-F238E27FC236}">
                <a16:creationId xmlns:a16="http://schemas.microsoft.com/office/drawing/2014/main" id="{9F117F5F-9686-4EBF-8CAA-29779CA5B99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aramond" panose="02020404030301010803" pitchFamily="18" charset="0"/>
              <a:ea typeface="+mn-ea"/>
              <a:cs typeface="+mn-cs"/>
              <a:sym typeface="Garamond" panose="02020404030301010803" pitchFamily="18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DBF41F6-2541-4012-979E-32F79814596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342387-4C64-2345-844A-655F6DE07248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6F6B7452-8E98-4927-8560-5D2226DB9DFF}"/>
              </a:ext>
            </a:extLst>
          </p:cNvPr>
          <p:cNvSpPr/>
          <p:nvPr/>
        </p:nvSpPr>
        <p:spPr>
          <a:xfrm>
            <a:off x="4595924" y="2538388"/>
            <a:ext cx="3083318" cy="2200322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b-NO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4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F4B71FB-105D-4855-A0D3-F8AE8CBC346E}"/>
              </a:ext>
            </a:extLst>
          </p:cNvPr>
          <p:cNvSpPr/>
          <p:nvPr/>
        </p:nvSpPr>
        <p:spPr>
          <a:xfrm>
            <a:off x="8245458" y="2538387"/>
            <a:ext cx="3083318" cy="2255307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b-NO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4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E15DE7D1-D537-4DD9-96EA-741BF35083D1}"/>
              </a:ext>
            </a:extLst>
          </p:cNvPr>
          <p:cNvSpPr/>
          <p:nvPr/>
        </p:nvSpPr>
        <p:spPr>
          <a:xfrm>
            <a:off x="947991" y="2538388"/>
            <a:ext cx="3083318" cy="2200322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b-NO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4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Content Placeholder 5">
            <a:extLst>
              <a:ext uri="{FF2B5EF4-FFF2-40B4-BE49-F238E27FC236}">
                <a16:creationId xmlns:a16="http://schemas.microsoft.com/office/drawing/2014/main" id="{54504A53-46BF-4C35-A8D4-8E47E0C8E257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838199" y="1673432"/>
            <a:ext cx="10153651" cy="435133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nb-NO" sz="1600"/>
              <a:t>Dette er kriteriene for å vurdere hvilke områder som har størst potensiale til å realisere oppdraget:</a:t>
            </a:r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0A029816-F45B-4BF5-B4F7-7A0BD4E043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30841"/>
            <a:ext cx="10515600" cy="1325563"/>
          </a:xfrm>
        </p:spPr>
        <p:txBody>
          <a:bodyPr>
            <a:normAutofit/>
          </a:bodyPr>
          <a:lstStyle/>
          <a:p>
            <a:r>
              <a:rPr lang="nb-NO" sz="2800"/>
              <a:t>Frelsesarmeens arbeid skal utføres i de områdene der det er mest behov og størst mulighet for å realisere oppdraget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A09FFB73-1FBD-456D-B7D9-C02FF9DEFF83}"/>
              </a:ext>
            </a:extLst>
          </p:cNvPr>
          <p:cNvGrpSpPr/>
          <p:nvPr/>
        </p:nvGrpSpPr>
        <p:grpSpPr>
          <a:xfrm>
            <a:off x="1145991" y="2681806"/>
            <a:ext cx="2700000" cy="417600"/>
            <a:chOff x="1002385" y="2681806"/>
            <a:chExt cx="2725200" cy="417600"/>
          </a:xfrm>
          <a:effectLst/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1BED9BCE-1498-4878-B4E1-5E8B522CACA9}"/>
                </a:ext>
              </a:extLst>
            </p:cNvPr>
            <p:cNvSpPr/>
            <p:nvPr/>
          </p:nvSpPr>
          <p:spPr>
            <a:xfrm>
              <a:off x="1002385" y="2681806"/>
              <a:ext cx="2725200" cy="4176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nb-NO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457200" marR="0" lvl="1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0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tore marginaliserte grupper</a:t>
              </a:r>
            </a:p>
          </p:txBody>
        </p:sp>
        <p:pic>
          <p:nvPicPr>
            <p:cNvPr id="36" name="Picture 35">
              <a:extLst>
                <a:ext uri="{FF2B5EF4-FFF2-40B4-BE49-F238E27FC236}">
                  <a16:creationId xmlns:a16="http://schemas.microsoft.com/office/drawing/2014/main" id="{907FE2A5-C8D7-4C69-9AF4-D8AFFFC93ED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90328" y="2750206"/>
              <a:ext cx="280800" cy="280800"/>
            </a:xfrm>
            <a:prstGeom prst="rect">
              <a:avLst/>
            </a:prstGeom>
            <a:effectLst/>
          </p:spPr>
        </p:pic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8D7604FB-8D3D-4DEE-B198-C41231E1EED7}"/>
              </a:ext>
            </a:extLst>
          </p:cNvPr>
          <p:cNvGrpSpPr/>
          <p:nvPr/>
        </p:nvGrpSpPr>
        <p:grpSpPr>
          <a:xfrm>
            <a:off x="8416490" y="2687480"/>
            <a:ext cx="2725369" cy="419199"/>
            <a:chOff x="8416490" y="2687480"/>
            <a:chExt cx="2725369" cy="419199"/>
          </a:xfrm>
        </p:grpSpPr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53329E51-EBB0-4FD9-B690-191889B12316}"/>
                </a:ext>
              </a:extLst>
            </p:cNvPr>
            <p:cNvSpPr/>
            <p:nvPr/>
          </p:nvSpPr>
          <p:spPr>
            <a:xfrm>
              <a:off x="8416490" y="2687480"/>
              <a:ext cx="2725369" cy="41919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nb-NO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457200" marR="0" lvl="1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0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Befolkningsgrunnlag</a:t>
              </a:r>
            </a:p>
          </p:txBody>
        </p:sp>
        <p:pic>
          <p:nvPicPr>
            <p:cNvPr id="39" name="Graphic 75" descr="Group of people">
              <a:extLst>
                <a:ext uri="{FF2B5EF4-FFF2-40B4-BE49-F238E27FC236}">
                  <a16:creationId xmlns:a16="http://schemas.microsoft.com/office/drawing/2014/main" id="{DC5CF308-91AD-4A5C-949D-DB304BCA341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8550071" y="2755436"/>
              <a:ext cx="282018" cy="282018"/>
            </a:xfrm>
            <a:prstGeom prst="rect">
              <a:avLst/>
            </a:prstGeom>
          </p:spPr>
        </p:pic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F921638D-0F6E-4B7B-A2B1-81A630412947}"/>
              </a:ext>
            </a:extLst>
          </p:cNvPr>
          <p:cNvGrpSpPr/>
          <p:nvPr/>
        </p:nvGrpSpPr>
        <p:grpSpPr>
          <a:xfrm>
            <a:off x="8416490" y="3192822"/>
            <a:ext cx="2725369" cy="419199"/>
            <a:chOff x="8250789" y="3031282"/>
            <a:chExt cx="2725369" cy="419199"/>
          </a:xfrm>
        </p:grpSpPr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0A7BE54E-8EB6-416A-9101-922481EB1AD9}"/>
                </a:ext>
              </a:extLst>
            </p:cNvPr>
            <p:cNvSpPr/>
            <p:nvPr/>
          </p:nvSpPr>
          <p:spPr>
            <a:xfrm>
              <a:off x="8250789" y="3031282"/>
              <a:ext cx="2725369" cy="41919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nb-NO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457200" marR="0" lvl="1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0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Befolkningsvekst</a:t>
              </a:r>
            </a:p>
          </p:txBody>
        </p:sp>
        <p:pic>
          <p:nvPicPr>
            <p:cNvPr id="42" name="Graphic 77" descr="Business Growth">
              <a:extLst>
                <a:ext uri="{FF2B5EF4-FFF2-40B4-BE49-F238E27FC236}">
                  <a16:creationId xmlns:a16="http://schemas.microsoft.com/office/drawing/2014/main" id="{1FEF93B6-9305-4C4B-B15A-B88710B1C100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8384370" y="3114087"/>
              <a:ext cx="281682" cy="281682"/>
            </a:xfrm>
            <a:prstGeom prst="rect">
              <a:avLst/>
            </a:prstGeom>
          </p:spPr>
        </p:pic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7D794D78-36CE-4221-A9A3-E59B1C4EEEAB}"/>
              </a:ext>
            </a:extLst>
          </p:cNvPr>
          <p:cNvGrpSpPr/>
          <p:nvPr/>
        </p:nvGrpSpPr>
        <p:grpSpPr>
          <a:xfrm>
            <a:off x="947991" y="2117119"/>
            <a:ext cx="3096000" cy="419199"/>
            <a:chOff x="947991" y="2117119"/>
            <a:chExt cx="3096000" cy="419199"/>
          </a:xfrm>
        </p:grpSpPr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3F96DB04-87C5-4B84-9D78-119D424BDF07}"/>
                </a:ext>
              </a:extLst>
            </p:cNvPr>
            <p:cNvSpPr/>
            <p:nvPr/>
          </p:nvSpPr>
          <p:spPr>
            <a:xfrm>
              <a:off x="947991" y="2117119"/>
              <a:ext cx="3096000" cy="419199"/>
            </a:xfrm>
            <a:prstGeom prst="rect">
              <a:avLst/>
            </a:prstGeom>
            <a:solidFill>
              <a:srgbClr val="ED262B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nb-NO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457200" marR="0" lvl="1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4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Behov for Frelsesarmeen</a:t>
              </a:r>
            </a:p>
          </p:txBody>
        </p:sp>
        <p:pic>
          <p:nvPicPr>
            <p:cNvPr id="45" name="Graphic 85" descr="Target Audience">
              <a:extLst>
                <a:ext uri="{FF2B5EF4-FFF2-40B4-BE49-F238E27FC236}">
                  <a16:creationId xmlns:a16="http://schemas.microsoft.com/office/drawing/2014/main" id="{0C44DADC-9331-4D57-A555-9E968AEF0A97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1042958" y="2169336"/>
              <a:ext cx="314384" cy="314384"/>
            </a:xfrm>
            <a:prstGeom prst="rect">
              <a:avLst/>
            </a:prstGeom>
          </p:spPr>
        </p:pic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0FCC275D-9C40-48CE-BD0D-D775C35D5306}"/>
              </a:ext>
            </a:extLst>
          </p:cNvPr>
          <p:cNvGrpSpPr/>
          <p:nvPr/>
        </p:nvGrpSpPr>
        <p:grpSpPr>
          <a:xfrm>
            <a:off x="4774899" y="2681806"/>
            <a:ext cx="2725369" cy="419199"/>
            <a:chOff x="4589583" y="2599142"/>
            <a:chExt cx="2725369" cy="419199"/>
          </a:xfrm>
        </p:grpSpPr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ACB8C4AF-CC2C-42AA-9D14-C344B2D027AB}"/>
                </a:ext>
              </a:extLst>
            </p:cNvPr>
            <p:cNvSpPr/>
            <p:nvPr/>
          </p:nvSpPr>
          <p:spPr>
            <a:xfrm>
              <a:off x="4589583" y="2599142"/>
              <a:ext cx="2725369" cy="41919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nb-NO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457200" marR="0" lvl="1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0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Økonomisk bærekraftighet</a:t>
              </a:r>
            </a:p>
          </p:txBody>
        </p:sp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7289DA3A-9600-4C2F-9762-E653827CDFDA}"/>
                </a:ext>
              </a:extLst>
            </p:cNvPr>
            <p:cNvGrpSpPr/>
            <p:nvPr/>
          </p:nvGrpSpPr>
          <p:grpSpPr>
            <a:xfrm>
              <a:off x="4720505" y="2654587"/>
              <a:ext cx="287007" cy="289689"/>
              <a:chOff x="5713342" y="3042283"/>
              <a:chExt cx="866887" cy="874989"/>
            </a:xfrm>
          </p:grpSpPr>
          <p:pic>
            <p:nvPicPr>
              <p:cNvPr id="49" name="Graphic 92" descr="Piggy Bank">
                <a:extLst>
                  <a:ext uri="{FF2B5EF4-FFF2-40B4-BE49-F238E27FC236}">
                    <a16:creationId xmlns:a16="http://schemas.microsoft.com/office/drawing/2014/main" id="{E90FCA3D-8A2D-4E48-81E5-A271067D386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>
                <a:extLst>
                  <a:ext uri="{96DAC541-7B7A-43D3-8B79-37D633B846F1}">
                    <asvg:svgBlip xmlns:asvg="http://schemas.microsoft.com/office/drawing/2016/SVG/main" r:embed="rId15"/>
                  </a:ext>
                </a:extLst>
              </a:blip>
              <a:stretch>
                <a:fillRect/>
              </a:stretch>
            </p:blipFill>
            <p:spPr>
              <a:xfrm>
                <a:off x="5977466" y="3314509"/>
                <a:ext cx="602763" cy="602763"/>
              </a:xfrm>
              <a:prstGeom prst="rect">
                <a:avLst/>
              </a:prstGeom>
            </p:spPr>
          </p:pic>
          <p:grpSp>
            <p:nvGrpSpPr>
              <p:cNvPr id="50" name="Graphic 6" descr="Sustainability">
                <a:extLst>
                  <a:ext uri="{FF2B5EF4-FFF2-40B4-BE49-F238E27FC236}">
                    <a16:creationId xmlns:a16="http://schemas.microsoft.com/office/drawing/2014/main" id="{20C5CF9D-600E-4C40-889E-E52C0CFFD14C}"/>
                  </a:ext>
                </a:extLst>
              </p:cNvPr>
              <p:cNvGrpSpPr/>
              <p:nvPr/>
            </p:nvGrpSpPr>
            <p:grpSpPr>
              <a:xfrm>
                <a:off x="5713342" y="3042283"/>
                <a:ext cx="673837" cy="710376"/>
                <a:chOff x="5713342" y="3042283"/>
                <a:chExt cx="673837" cy="710376"/>
              </a:xfrm>
            </p:grpSpPr>
            <p:sp>
              <p:nvSpPr>
                <p:cNvPr id="51" name="Freeform: Shape 50">
                  <a:extLst>
                    <a:ext uri="{FF2B5EF4-FFF2-40B4-BE49-F238E27FC236}">
                      <a16:creationId xmlns:a16="http://schemas.microsoft.com/office/drawing/2014/main" id="{5B1BAE39-1D82-4732-8C80-A52B48A447DE}"/>
                    </a:ext>
                  </a:extLst>
                </p:cNvPr>
                <p:cNvSpPr/>
                <p:nvPr/>
              </p:nvSpPr>
              <p:spPr>
                <a:xfrm>
                  <a:off x="5713342" y="3314509"/>
                  <a:ext cx="295275" cy="438150"/>
                </a:xfrm>
                <a:custGeom>
                  <a:avLst/>
                  <a:gdLst>
                    <a:gd name="connsiteX0" fmla="*/ 89002 w 295275"/>
                    <a:gd name="connsiteY0" fmla="*/ 337661 h 438150"/>
                    <a:gd name="connsiteX1" fmla="*/ 125483 w 295275"/>
                    <a:gd name="connsiteY1" fmla="*/ 362141 h 438150"/>
                    <a:gd name="connsiteX2" fmla="*/ 296933 w 295275"/>
                    <a:gd name="connsiteY2" fmla="*/ 362141 h 438150"/>
                    <a:gd name="connsiteX3" fmla="*/ 296933 w 295275"/>
                    <a:gd name="connsiteY3" fmla="*/ 438341 h 438150"/>
                    <a:gd name="connsiteX4" fmla="*/ 125483 w 295275"/>
                    <a:gd name="connsiteY4" fmla="*/ 438341 h 438150"/>
                    <a:gd name="connsiteX5" fmla="*/ 21184 w 295275"/>
                    <a:gd name="connsiteY5" fmla="*/ 375761 h 438150"/>
                    <a:gd name="connsiteX6" fmla="*/ 25756 w 295275"/>
                    <a:gd name="connsiteY6" fmla="*/ 259366 h 438150"/>
                    <a:gd name="connsiteX7" fmla="*/ 124816 w 295275"/>
                    <a:gd name="connsiteY7" fmla="*/ 87916 h 438150"/>
                    <a:gd name="connsiteX8" fmla="*/ 59474 w 295275"/>
                    <a:gd name="connsiteY8" fmla="*/ 49816 h 438150"/>
                    <a:gd name="connsiteX9" fmla="*/ 218923 w 295275"/>
                    <a:gd name="connsiteY9" fmla="*/ 7144 h 438150"/>
                    <a:gd name="connsiteX10" fmla="*/ 261595 w 295275"/>
                    <a:gd name="connsiteY10" fmla="*/ 166592 h 438150"/>
                    <a:gd name="connsiteX11" fmla="*/ 192158 w 295275"/>
                    <a:gd name="connsiteY11" fmla="*/ 126682 h 438150"/>
                    <a:gd name="connsiteX12" fmla="*/ 92717 w 295275"/>
                    <a:gd name="connsiteY12" fmla="*/ 299085 h 438150"/>
                    <a:gd name="connsiteX13" fmla="*/ 89002 w 295275"/>
                    <a:gd name="connsiteY13" fmla="*/ 337661 h 438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295275" h="438150">
                      <a:moveTo>
                        <a:pt x="89002" y="337661"/>
                      </a:moveTo>
                      <a:cubicBezTo>
                        <a:pt x="96188" y="351512"/>
                        <a:pt x="109942" y="360740"/>
                        <a:pt x="125483" y="362141"/>
                      </a:cubicBezTo>
                      <a:lnTo>
                        <a:pt x="296933" y="362141"/>
                      </a:lnTo>
                      <a:lnTo>
                        <a:pt x="296933" y="438341"/>
                      </a:lnTo>
                      <a:lnTo>
                        <a:pt x="125483" y="438341"/>
                      </a:lnTo>
                      <a:cubicBezTo>
                        <a:pt x="82050" y="437551"/>
                        <a:pt x="42319" y="413712"/>
                        <a:pt x="21184" y="375761"/>
                      </a:cubicBezTo>
                      <a:cubicBezTo>
                        <a:pt x="937" y="339133"/>
                        <a:pt x="2698" y="294293"/>
                        <a:pt x="25756" y="259366"/>
                      </a:cubicBezTo>
                      <a:lnTo>
                        <a:pt x="124816" y="87916"/>
                      </a:lnTo>
                      <a:lnTo>
                        <a:pt x="59474" y="49816"/>
                      </a:lnTo>
                      <a:lnTo>
                        <a:pt x="218923" y="7144"/>
                      </a:lnTo>
                      <a:lnTo>
                        <a:pt x="261595" y="166592"/>
                      </a:lnTo>
                      <a:lnTo>
                        <a:pt x="192158" y="126682"/>
                      </a:lnTo>
                      <a:lnTo>
                        <a:pt x="92717" y="299085"/>
                      </a:lnTo>
                      <a:cubicBezTo>
                        <a:pt x="84230" y="310185"/>
                        <a:pt x="82790" y="325145"/>
                        <a:pt x="89002" y="337661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nb-NO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b-NO" sz="105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52" name="Freeform: Shape 51">
                  <a:extLst>
                    <a:ext uri="{FF2B5EF4-FFF2-40B4-BE49-F238E27FC236}">
                      <a16:creationId xmlns:a16="http://schemas.microsoft.com/office/drawing/2014/main" id="{FAED9302-BCD2-49A4-9842-56F35C53ABFA}"/>
                    </a:ext>
                  </a:extLst>
                </p:cNvPr>
                <p:cNvSpPr/>
                <p:nvPr/>
              </p:nvSpPr>
              <p:spPr>
                <a:xfrm>
                  <a:off x="5929979" y="3042283"/>
                  <a:ext cx="457200" cy="361950"/>
                </a:xfrm>
                <a:custGeom>
                  <a:avLst/>
                  <a:gdLst>
                    <a:gd name="connsiteX0" fmla="*/ 7144 w 457200"/>
                    <a:gd name="connsiteY0" fmla="*/ 216601 h 361950"/>
                    <a:gd name="connsiteX1" fmla="*/ 86868 w 457200"/>
                    <a:gd name="connsiteY1" fmla="*/ 67725 h 361950"/>
                    <a:gd name="connsiteX2" fmla="*/ 190595 w 457200"/>
                    <a:gd name="connsiteY2" fmla="*/ 7146 h 361950"/>
                    <a:gd name="connsiteX3" fmla="*/ 289084 w 457200"/>
                    <a:gd name="connsiteY3" fmla="*/ 69440 h 361950"/>
                    <a:gd name="connsiteX4" fmla="*/ 388144 w 457200"/>
                    <a:gd name="connsiteY4" fmla="*/ 240890 h 361950"/>
                    <a:gd name="connsiteX5" fmla="*/ 453485 w 457200"/>
                    <a:gd name="connsiteY5" fmla="*/ 202790 h 361950"/>
                    <a:gd name="connsiteX6" fmla="*/ 410813 w 457200"/>
                    <a:gd name="connsiteY6" fmla="*/ 362714 h 361950"/>
                    <a:gd name="connsiteX7" fmla="*/ 251746 w 457200"/>
                    <a:gd name="connsiteY7" fmla="*/ 320042 h 361950"/>
                    <a:gd name="connsiteX8" fmla="*/ 321088 w 457200"/>
                    <a:gd name="connsiteY8" fmla="*/ 279942 h 361950"/>
                    <a:gd name="connsiteX9" fmla="*/ 221171 w 457200"/>
                    <a:gd name="connsiteY9" fmla="*/ 107444 h 361950"/>
                    <a:gd name="connsiteX10" fmla="*/ 189548 w 457200"/>
                    <a:gd name="connsiteY10" fmla="*/ 84965 h 361950"/>
                    <a:gd name="connsiteX11" fmla="*/ 154305 w 457200"/>
                    <a:gd name="connsiteY11" fmla="*/ 106682 h 361950"/>
                    <a:gd name="connsiteX12" fmla="*/ 74486 w 457200"/>
                    <a:gd name="connsiteY12" fmla="*/ 255558 h 3619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457200" h="361950">
                      <a:moveTo>
                        <a:pt x="7144" y="216601"/>
                      </a:moveTo>
                      <a:lnTo>
                        <a:pt x="86868" y="67725"/>
                      </a:lnTo>
                      <a:cubicBezTo>
                        <a:pt x="107781" y="30100"/>
                        <a:pt x="147549" y="6875"/>
                        <a:pt x="190595" y="7146"/>
                      </a:cubicBezTo>
                      <a:cubicBezTo>
                        <a:pt x="232447" y="8004"/>
                        <a:pt x="270374" y="31993"/>
                        <a:pt x="289084" y="69440"/>
                      </a:cubicBezTo>
                      <a:lnTo>
                        <a:pt x="388144" y="240890"/>
                      </a:lnTo>
                      <a:lnTo>
                        <a:pt x="453485" y="202790"/>
                      </a:lnTo>
                      <a:lnTo>
                        <a:pt x="410813" y="362714"/>
                      </a:lnTo>
                      <a:lnTo>
                        <a:pt x="251746" y="320042"/>
                      </a:lnTo>
                      <a:lnTo>
                        <a:pt x="321088" y="279942"/>
                      </a:lnTo>
                      <a:lnTo>
                        <a:pt x="221171" y="107444"/>
                      </a:lnTo>
                      <a:cubicBezTo>
                        <a:pt x="215744" y="94562"/>
                        <a:pt x="203498" y="85856"/>
                        <a:pt x="189548" y="84965"/>
                      </a:cubicBezTo>
                      <a:cubicBezTo>
                        <a:pt x="174857" y="85693"/>
                        <a:pt x="161560" y="93887"/>
                        <a:pt x="154305" y="106682"/>
                      </a:cubicBezTo>
                      <a:lnTo>
                        <a:pt x="74486" y="255558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nb-NO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b-NO" sz="105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</p:grp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BEBF271E-09BF-4358-AA34-224133012AC6}"/>
              </a:ext>
            </a:extLst>
          </p:cNvPr>
          <p:cNvGrpSpPr/>
          <p:nvPr/>
        </p:nvGrpSpPr>
        <p:grpSpPr>
          <a:xfrm>
            <a:off x="4774899" y="3196498"/>
            <a:ext cx="2725369" cy="419199"/>
            <a:chOff x="4589583" y="3031282"/>
            <a:chExt cx="2725369" cy="419199"/>
          </a:xfrm>
        </p:grpSpPr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3242BABE-3D79-4E00-9066-8E0D99065A3E}"/>
                </a:ext>
              </a:extLst>
            </p:cNvPr>
            <p:cNvSpPr/>
            <p:nvPr/>
          </p:nvSpPr>
          <p:spPr>
            <a:xfrm>
              <a:off x="4589583" y="3031282"/>
              <a:ext cx="2725369" cy="41919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nb-NO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457200" marR="0" lvl="1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0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Tilgjengelig ressurser lokalt</a:t>
              </a:r>
            </a:p>
          </p:txBody>
        </p:sp>
        <p:pic>
          <p:nvPicPr>
            <p:cNvPr id="58" name="Graphic 2" descr="Customer review RTL">
              <a:extLst>
                <a:ext uri="{FF2B5EF4-FFF2-40B4-BE49-F238E27FC236}">
                  <a16:creationId xmlns:a16="http://schemas.microsoft.com/office/drawing/2014/main" id="{BB6170B1-4B1F-436E-9FE9-10A5DAC53C24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4709191" y="3086989"/>
              <a:ext cx="309634" cy="309634"/>
            </a:xfrm>
            <a:prstGeom prst="rect">
              <a:avLst/>
            </a:prstGeom>
          </p:spPr>
        </p:pic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DC397C99-A70F-42E8-837B-1695BFE2C8AE}"/>
              </a:ext>
            </a:extLst>
          </p:cNvPr>
          <p:cNvGrpSpPr/>
          <p:nvPr/>
        </p:nvGrpSpPr>
        <p:grpSpPr>
          <a:xfrm>
            <a:off x="4774609" y="3711190"/>
            <a:ext cx="2725949" cy="419199"/>
            <a:chOff x="4589583" y="3472948"/>
            <a:chExt cx="2725949" cy="419199"/>
          </a:xfrm>
        </p:grpSpPr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43FF4A24-76DF-47BD-B968-2D0CBA0D55DB}"/>
                </a:ext>
              </a:extLst>
            </p:cNvPr>
            <p:cNvSpPr/>
            <p:nvPr/>
          </p:nvSpPr>
          <p:spPr>
            <a:xfrm>
              <a:off x="4589583" y="3472948"/>
              <a:ext cx="2725949" cy="41919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nb-NO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457200" marR="0" lvl="1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0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Allerede eksisterende god aktivitet</a:t>
              </a:r>
            </a:p>
          </p:txBody>
        </p:sp>
        <p:pic>
          <p:nvPicPr>
            <p:cNvPr id="61" name="Graphic 12" descr="Thumbs up sign">
              <a:extLst>
                <a:ext uri="{FF2B5EF4-FFF2-40B4-BE49-F238E27FC236}">
                  <a16:creationId xmlns:a16="http://schemas.microsoft.com/office/drawing/2014/main" id="{BA96E934-F9A6-49F8-ABD4-A14FC7722DD3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4723137" y="3541640"/>
              <a:ext cx="281742" cy="281682"/>
            </a:xfrm>
            <a:prstGeom prst="rect">
              <a:avLst/>
            </a:prstGeom>
          </p:spPr>
        </p:pic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C28822CF-398D-48E5-BC14-B8FB3F2D6808}"/>
              </a:ext>
            </a:extLst>
          </p:cNvPr>
          <p:cNvGrpSpPr/>
          <p:nvPr/>
        </p:nvGrpSpPr>
        <p:grpSpPr>
          <a:xfrm>
            <a:off x="4774609" y="4225881"/>
            <a:ext cx="2725949" cy="419199"/>
            <a:chOff x="4589583" y="3914613"/>
            <a:chExt cx="2725949" cy="419199"/>
          </a:xfrm>
        </p:grpSpPr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93A9E834-7316-444C-B9E3-D73EA9696B8F}"/>
                </a:ext>
              </a:extLst>
            </p:cNvPr>
            <p:cNvSpPr/>
            <p:nvPr/>
          </p:nvSpPr>
          <p:spPr>
            <a:xfrm>
              <a:off x="4589583" y="3914613"/>
              <a:ext cx="2725949" cy="41919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nb-NO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457200" marR="0" lvl="1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0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ærhet mellom enheter (samarbeidsmuligheter)</a:t>
              </a:r>
            </a:p>
          </p:txBody>
        </p:sp>
        <p:pic>
          <p:nvPicPr>
            <p:cNvPr id="64" name="Graphic 65" descr="Handshake">
              <a:extLst>
                <a:ext uri="{FF2B5EF4-FFF2-40B4-BE49-F238E27FC236}">
                  <a16:creationId xmlns:a16="http://schemas.microsoft.com/office/drawing/2014/main" id="{C48F1D46-8453-40C0-83E1-46433E92E74A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4713177" y="3973381"/>
              <a:ext cx="301662" cy="301662"/>
            </a:xfrm>
            <a:prstGeom prst="rect">
              <a:avLst/>
            </a:prstGeom>
          </p:spPr>
        </p:pic>
      </p:grpSp>
      <p:sp>
        <p:nvSpPr>
          <p:cNvPr id="65" name="Rectangle 64">
            <a:extLst>
              <a:ext uri="{FF2B5EF4-FFF2-40B4-BE49-F238E27FC236}">
                <a16:creationId xmlns:a16="http://schemas.microsoft.com/office/drawing/2014/main" id="{69AC073F-BFB1-4ECD-8E12-01744BBBF2D5}"/>
              </a:ext>
            </a:extLst>
          </p:cNvPr>
          <p:cNvSpPr/>
          <p:nvPr/>
        </p:nvSpPr>
        <p:spPr>
          <a:xfrm>
            <a:off x="838200" y="5895976"/>
            <a:ext cx="10488973" cy="514350"/>
          </a:xfrm>
          <a:prstGeom prst="rect">
            <a:avLst/>
          </a:prstGeom>
          <a:solidFill>
            <a:srgbClr val="ED26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n totalvurdering av kriteriene skal hjelpe i vurderinger av innsatsområder både territorialt, regionalt og lokalt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42C7B910-9271-4AD7-9B49-3DEEB60FD2DE}"/>
              </a:ext>
            </a:extLst>
          </p:cNvPr>
          <p:cNvSpPr/>
          <p:nvPr/>
        </p:nvSpPr>
        <p:spPr>
          <a:xfrm>
            <a:off x="4589583" y="2117119"/>
            <a:ext cx="3096000" cy="419199"/>
          </a:xfrm>
          <a:prstGeom prst="rect">
            <a:avLst/>
          </a:prstGeom>
          <a:solidFill>
            <a:srgbClr val="ED262B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b-NO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terne lokale faktorer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C5FB2387-FF63-4F80-A31A-4137C2D69ECA}"/>
              </a:ext>
            </a:extLst>
          </p:cNvPr>
          <p:cNvSpPr/>
          <p:nvPr/>
        </p:nvSpPr>
        <p:spPr>
          <a:xfrm>
            <a:off x="8231174" y="2117119"/>
            <a:ext cx="3096000" cy="419199"/>
          </a:xfrm>
          <a:prstGeom prst="rect">
            <a:avLst/>
          </a:prstGeom>
          <a:solidFill>
            <a:srgbClr val="ED262B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b-NO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ksterne lokale faktorer</a:t>
            </a:r>
          </a:p>
        </p:txBody>
      </p:sp>
      <p:grpSp>
        <p:nvGrpSpPr>
          <p:cNvPr id="68" name="Group 67">
            <a:extLst>
              <a:ext uri="{FF2B5EF4-FFF2-40B4-BE49-F238E27FC236}">
                <a16:creationId xmlns:a16="http://schemas.microsoft.com/office/drawing/2014/main" id="{C0F313B0-816A-43EE-ADAA-C4A6CE62B6EC}"/>
              </a:ext>
            </a:extLst>
          </p:cNvPr>
          <p:cNvGrpSpPr/>
          <p:nvPr/>
        </p:nvGrpSpPr>
        <p:grpSpPr>
          <a:xfrm>
            <a:off x="1145991" y="3196032"/>
            <a:ext cx="2700000" cy="417600"/>
            <a:chOff x="1002385" y="3112754"/>
            <a:chExt cx="2725200" cy="417600"/>
          </a:xfrm>
          <a:effectLst/>
        </p:grpSpPr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8CEAF9C8-786A-41BB-A289-3974CFDC81B3}"/>
                </a:ext>
              </a:extLst>
            </p:cNvPr>
            <p:cNvSpPr/>
            <p:nvPr/>
          </p:nvSpPr>
          <p:spPr>
            <a:xfrm>
              <a:off x="1002385" y="3112754"/>
              <a:ext cx="2725200" cy="4176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nb-NO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457200" marR="0" lvl="1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0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Lav kristen virksomhet</a:t>
              </a:r>
            </a:p>
          </p:txBody>
        </p:sp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736731EE-DB0C-473C-9EF1-DF5C0406A6D5}"/>
                </a:ext>
              </a:extLst>
            </p:cNvPr>
            <p:cNvGrpSpPr/>
            <p:nvPr/>
          </p:nvGrpSpPr>
          <p:grpSpPr>
            <a:xfrm>
              <a:off x="1119395" y="3183620"/>
              <a:ext cx="222667" cy="280800"/>
              <a:chOff x="4831080" y="-1044000"/>
              <a:chExt cx="807720" cy="1044000"/>
            </a:xfrm>
            <a:effectLst/>
          </p:grpSpPr>
          <p:sp>
            <p:nvSpPr>
              <p:cNvPr id="71" name="Rectangle 70">
                <a:extLst>
                  <a:ext uri="{FF2B5EF4-FFF2-40B4-BE49-F238E27FC236}">
                    <a16:creationId xmlns:a16="http://schemas.microsoft.com/office/drawing/2014/main" id="{663D4507-0050-4259-AFAC-8C915E355864}"/>
                  </a:ext>
                </a:extLst>
              </p:cNvPr>
              <p:cNvSpPr/>
              <p:nvPr/>
            </p:nvSpPr>
            <p:spPr>
              <a:xfrm>
                <a:off x="4831080" y="-701040"/>
                <a:ext cx="807720" cy="108000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nb-NO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0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2" name="Rectangle 71">
                <a:extLst>
                  <a:ext uri="{FF2B5EF4-FFF2-40B4-BE49-F238E27FC236}">
                    <a16:creationId xmlns:a16="http://schemas.microsoft.com/office/drawing/2014/main" id="{8209DF45-1181-4EF7-80EE-3B5219FCCCE9}"/>
                  </a:ext>
                </a:extLst>
              </p:cNvPr>
              <p:cNvSpPr/>
              <p:nvPr/>
            </p:nvSpPr>
            <p:spPr>
              <a:xfrm rot="5400000">
                <a:off x="4712940" y="-576000"/>
                <a:ext cx="1044000" cy="108000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nb-NO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0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2CF63722-1F88-44C9-96E8-3ACC3FBD4268}"/>
              </a:ext>
            </a:extLst>
          </p:cNvPr>
          <p:cNvGrpSpPr/>
          <p:nvPr/>
        </p:nvGrpSpPr>
        <p:grpSpPr>
          <a:xfrm>
            <a:off x="1133391" y="4224484"/>
            <a:ext cx="2725200" cy="417600"/>
            <a:chOff x="1002385" y="3973382"/>
            <a:chExt cx="2725200" cy="417600"/>
          </a:xfrm>
          <a:effectLst/>
        </p:grpSpPr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DBAC885B-8AAA-436D-A550-39DE4BA493B3}"/>
                </a:ext>
              </a:extLst>
            </p:cNvPr>
            <p:cNvSpPr/>
            <p:nvPr/>
          </p:nvSpPr>
          <p:spPr>
            <a:xfrm>
              <a:off x="1002385" y="3973382"/>
              <a:ext cx="2725200" cy="4176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nb-NO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457200" marR="0" lvl="1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0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anglende offentlige tilbud</a:t>
              </a:r>
            </a:p>
          </p:txBody>
        </p:sp>
        <p:pic>
          <p:nvPicPr>
            <p:cNvPr id="75" name="Graphic 41" descr="Building">
              <a:extLst>
                <a:ext uri="{FF2B5EF4-FFF2-40B4-BE49-F238E27FC236}">
                  <a16:creationId xmlns:a16="http://schemas.microsoft.com/office/drawing/2014/main" id="{161C0F5A-8F74-40FC-A292-3F6C8ED3CE94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>
              <a:extLst>
                <a:ext uri="{96DAC541-7B7A-43D3-8B79-37D633B846F1}">
                  <asvg:svgBlip xmlns:asvg="http://schemas.microsoft.com/office/drawing/2016/SVG/main" r:embed="rId23"/>
                </a:ext>
              </a:extLst>
            </a:blip>
            <a:stretch>
              <a:fillRect/>
            </a:stretch>
          </p:blipFill>
          <p:spPr>
            <a:xfrm>
              <a:off x="1090328" y="4044007"/>
              <a:ext cx="280800" cy="280800"/>
            </a:xfrm>
            <a:prstGeom prst="rect">
              <a:avLst/>
            </a:prstGeom>
            <a:effectLst/>
          </p:spPr>
        </p:pic>
      </p:grpSp>
      <p:grpSp>
        <p:nvGrpSpPr>
          <p:cNvPr id="76" name="Group 75">
            <a:extLst>
              <a:ext uri="{FF2B5EF4-FFF2-40B4-BE49-F238E27FC236}">
                <a16:creationId xmlns:a16="http://schemas.microsoft.com/office/drawing/2014/main" id="{3D7C9613-7257-4E8D-B3AA-D8BC15792E68}"/>
              </a:ext>
            </a:extLst>
          </p:cNvPr>
          <p:cNvGrpSpPr/>
          <p:nvPr/>
        </p:nvGrpSpPr>
        <p:grpSpPr>
          <a:xfrm>
            <a:off x="1133391" y="3710258"/>
            <a:ext cx="2725200" cy="417600"/>
            <a:chOff x="1002385" y="3543702"/>
            <a:chExt cx="2725200" cy="417600"/>
          </a:xfrm>
          <a:effectLst/>
        </p:grpSpPr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12CD40E3-8E42-485D-8279-FCE31AB2A243}"/>
                </a:ext>
              </a:extLst>
            </p:cNvPr>
            <p:cNvSpPr/>
            <p:nvPr/>
          </p:nvSpPr>
          <p:spPr>
            <a:xfrm>
              <a:off x="1002385" y="3543702"/>
              <a:ext cx="2725200" cy="4176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nb-NO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457200" marR="0" lvl="1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0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å andre aktører</a:t>
              </a:r>
            </a:p>
          </p:txBody>
        </p:sp>
        <p:pic>
          <p:nvPicPr>
            <p:cNvPr id="78" name="Graphic 45" descr="Connections">
              <a:extLst>
                <a:ext uri="{FF2B5EF4-FFF2-40B4-BE49-F238E27FC236}">
                  <a16:creationId xmlns:a16="http://schemas.microsoft.com/office/drawing/2014/main" id="{306C19A9-EFBE-4FA2-B3A2-A58D7C1EFDDC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>
              <a:extLst>
                <a:ext uri="{96DAC541-7B7A-43D3-8B79-37D633B846F1}">
                  <asvg:svgBlip xmlns:asvg="http://schemas.microsoft.com/office/drawing/2016/SVG/main" r:embed="rId25"/>
                </a:ext>
              </a:extLst>
            </a:blip>
            <a:stretch>
              <a:fillRect/>
            </a:stretch>
          </p:blipFill>
          <p:spPr>
            <a:xfrm>
              <a:off x="1090328" y="3612102"/>
              <a:ext cx="280800" cy="280800"/>
            </a:xfrm>
            <a:prstGeom prst="rect">
              <a:avLst/>
            </a:prstGeom>
            <a:effectLst/>
          </p:spPr>
        </p:pic>
      </p:grpSp>
      <p:grpSp>
        <p:nvGrpSpPr>
          <p:cNvPr id="79" name="Group 78">
            <a:extLst>
              <a:ext uri="{FF2B5EF4-FFF2-40B4-BE49-F238E27FC236}">
                <a16:creationId xmlns:a16="http://schemas.microsoft.com/office/drawing/2014/main" id="{D6751591-6525-470F-BB51-914F954ADDB7}"/>
              </a:ext>
            </a:extLst>
          </p:cNvPr>
          <p:cNvGrpSpPr/>
          <p:nvPr/>
        </p:nvGrpSpPr>
        <p:grpSpPr>
          <a:xfrm>
            <a:off x="8434312" y="3698164"/>
            <a:ext cx="2725200" cy="417600"/>
            <a:chOff x="1002385" y="4403062"/>
            <a:chExt cx="2725200" cy="417600"/>
          </a:xfrm>
          <a:effectLst/>
        </p:grpSpPr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8D6AFCFD-8933-42FB-964D-7C9F73C1FBE8}"/>
                </a:ext>
              </a:extLst>
            </p:cNvPr>
            <p:cNvSpPr/>
            <p:nvPr/>
          </p:nvSpPr>
          <p:spPr>
            <a:xfrm>
              <a:off x="1002385" y="4403062"/>
              <a:ext cx="2725200" cy="4176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nb-NO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457200" marR="0" lvl="1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0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ulighet for å drifte tiltak med offentlig tilskudd</a:t>
              </a:r>
            </a:p>
          </p:txBody>
        </p:sp>
        <p:pic>
          <p:nvPicPr>
            <p:cNvPr id="81" name="Graphic 51" descr="Doctor">
              <a:extLst>
                <a:ext uri="{FF2B5EF4-FFF2-40B4-BE49-F238E27FC236}">
                  <a16:creationId xmlns:a16="http://schemas.microsoft.com/office/drawing/2014/main" id="{8CD24B84-2A7B-4AF7-900B-2F9A94E4D8E8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>
              <a:extLst>
                <a:ext uri="{96DAC541-7B7A-43D3-8B79-37D633B846F1}">
                  <asvg:svgBlip xmlns:asvg="http://schemas.microsoft.com/office/drawing/2016/SVG/main" r:embed="rId27"/>
                </a:ext>
              </a:extLst>
            </a:blip>
            <a:stretch>
              <a:fillRect/>
            </a:stretch>
          </p:blipFill>
          <p:spPr>
            <a:xfrm>
              <a:off x="1090327" y="4460753"/>
              <a:ext cx="280802" cy="280800"/>
            </a:xfrm>
            <a:prstGeom prst="rect">
              <a:avLst/>
            </a:prstGeom>
            <a:effectLst/>
          </p:spPr>
        </p:pic>
      </p:grpSp>
      <p:grpSp>
        <p:nvGrpSpPr>
          <p:cNvPr id="82" name="Group 81">
            <a:extLst>
              <a:ext uri="{FF2B5EF4-FFF2-40B4-BE49-F238E27FC236}">
                <a16:creationId xmlns:a16="http://schemas.microsoft.com/office/drawing/2014/main" id="{D9D4E4F9-13BA-4EB6-8206-B9CC41E129AD}"/>
              </a:ext>
            </a:extLst>
          </p:cNvPr>
          <p:cNvGrpSpPr/>
          <p:nvPr/>
        </p:nvGrpSpPr>
        <p:grpSpPr>
          <a:xfrm>
            <a:off x="8424517" y="4201907"/>
            <a:ext cx="2725200" cy="417600"/>
            <a:chOff x="1002385" y="4832742"/>
            <a:chExt cx="2725200" cy="417600"/>
          </a:xfrm>
          <a:effectLst/>
        </p:grpSpPr>
        <p:sp>
          <p:nvSpPr>
            <p:cNvPr id="83" name="Rectangle 82">
              <a:extLst>
                <a:ext uri="{FF2B5EF4-FFF2-40B4-BE49-F238E27FC236}">
                  <a16:creationId xmlns:a16="http://schemas.microsoft.com/office/drawing/2014/main" id="{5A0D780E-49BC-4161-91C6-62C99E283B35}"/>
                </a:ext>
              </a:extLst>
            </p:cNvPr>
            <p:cNvSpPr/>
            <p:nvPr/>
          </p:nvSpPr>
          <p:spPr>
            <a:xfrm>
              <a:off x="1002385" y="4832742"/>
              <a:ext cx="2725200" cy="4176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nb-NO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457200" marR="0" lvl="1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0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olitiske muligheter</a:t>
              </a:r>
            </a:p>
          </p:txBody>
        </p:sp>
        <p:pic>
          <p:nvPicPr>
            <p:cNvPr id="84" name="Picture 83" descr="A close up of a logo&#10;&#10;Description generated with very high confidence">
              <a:extLst>
                <a:ext uri="{FF2B5EF4-FFF2-40B4-BE49-F238E27FC236}">
                  <a16:creationId xmlns:a16="http://schemas.microsoft.com/office/drawing/2014/main" id="{4149F2F0-FFEC-4E5D-8AB9-EE97E7054496}"/>
                </a:ext>
              </a:extLst>
            </p:cNvPr>
            <p:cNvPicPr>
              <a:picLocks noChangeAspect="1"/>
            </p:cNvPicPr>
            <p:nvPr/>
          </p:nvPicPr>
          <p:blipFill>
            <a:blip r:embed="rId28"/>
            <a:stretch>
              <a:fillRect/>
            </a:stretch>
          </p:blipFill>
          <p:spPr>
            <a:xfrm>
              <a:off x="1090328" y="4886463"/>
              <a:ext cx="280800" cy="280800"/>
            </a:xfrm>
            <a:prstGeom prst="rect">
              <a:avLst/>
            </a:prstGeom>
          </p:spPr>
        </p:pic>
      </p:grpSp>
      <p:sp>
        <p:nvSpPr>
          <p:cNvPr id="85" name="Freeform: Shape 84">
            <a:extLst>
              <a:ext uri="{FF2B5EF4-FFF2-40B4-BE49-F238E27FC236}">
                <a16:creationId xmlns:a16="http://schemas.microsoft.com/office/drawing/2014/main" id="{E8C72480-4B92-4066-BDBC-4F338EEF9363}"/>
              </a:ext>
            </a:extLst>
          </p:cNvPr>
          <p:cNvSpPr/>
          <p:nvPr/>
        </p:nvSpPr>
        <p:spPr>
          <a:xfrm>
            <a:off x="4704287" y="2206593"/>
            <a:ext cx="250191" cy="250191"/>
          </a:xfrm>
          <a:custGeom>
            <a:avLst/>
            <a:gdLst>
              <a:gd name="connsiteX0" fmla="*/ 0 w 356590"/>
              <a:gd name="connsiteY0" fmla="*/ 0 h 356590"/>
              <a:gd name="connsiteX1" fmla="*/ 226406 w 356590"/>
              <a:gd name="connsiteY1" fmla="*/ 0 h 356590"/>
              <a:gd name="connsiteX2" fmla="*/ 226406 w 356590"/>
              <a:gd name="connsiteY2" fmla="*/ 149560 h 356590"/>
              <a:gd name="connsiteX3" fmla="*/ 356590 w 356590"/>
              <a:gd name="connsiteY3" fmla="*/ 149560 h 356590"/>
              <a:gd name="connsiteX4" fmla="*/ 356590 w 356590"/>
              <a:gd name="connsiteY4" fmla="*/ 356590 h 356590"/>
              <a:gd name="connsiteX5" fmla="*/ 0 w 356590"/>
              <a:gd name="connsiteY5" fmla="*/ 356590 h 356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6590" h="356590">
                <a:moveTo>
                  <a:pt x="0" y="0"/>
                </a:moveTo>
                <a:lnTo>
                  <a:pt x="226406" y="0"/>
                </a:lnTo>
                <a:lnTo>
                  <a:pt x="226406" y="149560"/>
                </a:lnTo>
                <a:lnTo>
                  <a:pt x="356590" y="149560"/>
                </a:lnTo>
                <a:lnTo>
                  <a:pt x="356590" y="356590"/>
                </a:lnTo>
                <a:lnTo>
                  <a:pt x="0" y="356590"/>
                </a:lnTo>
                <a:close/>
              </a:path>
            </a:pathLst>
          </a:custGeom>
          <a:noFill/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6" name="Arrow: Right 85">
            <a:extLst>
              <a:ext uri="{FF2B5EF4-FFF2-40B4-BE49-F238E27FC236}">
                <a16:creationId xmlns:a16="http://schemas.microsoft.com/office/drawing/2014/main" id="{BE165E56-9366-44C3-9348-17E84E7D4730}"/>
              </a:ext>
            </a:extLst>
          </p:cNvPr>
          <p:cNvSpPr/>
          <p:nvPr/>
        </p:nvSpPr>
        <p:spPr>
          <a:xfrm rot="7791301">
            <a:off x="4896286" y="2164475"/>
            <a:ext cx="139471" cy="86719"/>
          </a:xfrm>
          <a:prstGeom prst="rightArrow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7" name="Freeform: Shape 86">
            <a:extLst>
              <a:ext uri="{FF2B5EF4-FFF2-40B4-BE49-F238E27FC236}">
                <a16:creationId xmlns:a16="http://schemas.microsoft.com/office/drawing/2014/main" id="{3DEDBD8D-80FD-4C42-9FD0-7FFBC675C72F}"/>
              </a:ext>
            </a:extLst>
          </p:cNvPr>
          <p:cNvSpPr/>
          <p:nvPr/>
        </p:nvSpPr>
        <p:spPr>
          <a:xfrm>
            <a:off x="8345462" y="2215037"/>
            <a:ext cx="250191" cy="250191"/>
          </a:xfrm>
          <a:custGeom>
            <a:avLst/>
            <a:gdLst>
              <a:gd name="connsiteX0" fmla="*/ 0 w 356590"/>
              <a:gd name="connsiteY0" fmla="*/ 0 h 356590"/>
              <a:gd name="connsiteX1" fmla="*/ 226406 w 356590"/>
              <a:gd name="connsiteY1" fmla="*/ 0 h 356590"/>
              <a:gd name="connsiteX2" fmla="*/ 226406 w 356590"/>
              <a:gd name="connsiteY2" fmla="*/ 149560 h 356590"/>
              <a:gd name="connsiteX3" fmla="*/ 356590 w 356590"/>
              <a:gd name="connsiteY3" fmla="*/ 149560 h 356590"/>
              <a:gd name="connsiteX4" fmla="*/ 356590 w 356590"/>
              <a:gd name="connsiteY4" fmla="*/ 356590 h 356590"/>
              <a:gd name="connsiteX5" fmla="*/ 0 w 356590"/>
              <a:gd name="connsiteY5" fmla="*/ 356590 h 356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6590" h="356590">
                <a:moveTo>
                  <a:pt x="0" y="0"/>
                </a:moveTo>
                <a:lnTo>
                  <a:pt x="226406" y="0"/>
                </a:lnTo>
                <a:lnTo>
                  <a:pt x="226406" y="149560"/>
                </a:lnTo>
                <a:lnTo>
                  <a:pt x="356590" y="149560"/>
                </a:lnTo>
                <a:lnTo>
                  <a:pt x="356590" y="356590"/>
                </a:lnTo>
                <a:lnTo>
                  <a:pt x="0" y="356590"/>
                </a:lnTo>
                <a:close/>
              </a:path>
            </a:pathLst>
          </a:custGeom>
          <a:noFill/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8" name="Arrow: Right 87">
            <a:extLst>
              <a:ext uri="{FF2B5EF4-FFF2-40B4-BE49-F238E27FC236}">
                <a16:creationId xmlns:a16="http://schemas.microsoft.com/office/drawing/2014/main" id="{97FEDD6D-4F23-43CD-AA46-C4A0CDFAD73A}"/>
              </a:ext>
            </a:extLst>
          </p:cNvPr>
          <p:cNvSpPr/>
          <p:nvPr/>
        </p:nvSpPr>
        <p:spPr>
          <a:xfrm rot="18932134">
            <a:off x="8537461" y="2172919"/>
            <a:ext cx="139471" cy="86719"/>
          </a:xfrm>
          <a:prstGeom prst="rightArrow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338585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9DE9D77-BFE0-446B-96C6-D53461FAA7E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623024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1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9DE9D77-BFE0-446B-96C6-D53461FAA7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tangle 21" hidden="1">
            <a:extLst>
              <a:ext uri="{FF2B5EF4-FFF2-40B4-BE49-F238E27FC236}">
                <a16:creationId xmlns:a16="http://schemas.microsoft.com/office/drawing/2014/main" id="{9DD13CCD-F09B-4280-8C0B-A85EE6B08212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rgbClr val="FFFFFF"/>
          </a:solidFill>
          <a:ln w="1270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89803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106000"/>
              </a:lnSpc>
              <a:buClr>
                <a:schemeClr val="tx1"/>
              </a:buClr>
            </a:pPr>
            <a:endParaRPr lang="nb-NO" sz="2800" b="1" err="1">
              <a:latin typeface="Garamond" panose="02020404030301010803" pitchFamily="18" charset="0"/>
              <a:ea typeface="+mj-ea"/>
              <a:cs typeface="+mj-cs"/>
              <a:sym typeface="Garamond" panose="02020404030301010803" pitchFamily="18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6805A7B-ECAA-4D2D-9E03-2D23734174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39309"/>
            <a:ext cx="10515600" cy="1325563"/>
          </a:xfrm>
        </p:spPr>
        <p:txBody>
          <a:bodyPr/>
          <a:lstStyle/>
          <a:p>
            <a:r>
              <a:rPr lang="nb-NO"/>
              <a:t>Internvurdering av et geografisk område</a:t>
            </a:r>
            <a:endParaRPr lang="nb-NO" b="0"/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DECE38A5-488A-4CF4-AD08-6316782ADBE9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129527594"/>
              </p:ext>
            </p:extLst>
          </p:nvPr>
        </p:nvGraphicFramePr>
        <p:xfrm>
          <a:off x="838200" y="1700213"/>
          <a:ext cx="10515600" cy="43513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94A05B30-492C-4338-BF6D-3D671FEDB784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6566" y="1618845"/>
            <a:ext cx="278203" cy="280800"/>
          </a:xfrm>
          <a:prstGeom prst="rect">
            <a:avLst/>
          </a:prstGeom>
          <a:effectLst/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64A318CE-F288-4BE4-BAC6-F9EBF1180AE0}"/>
              </a:ext>
            </a:extLst>
          </p:cNvPr>
          <p:cNvGrpSpPr/>
          <p:nvPr/>
        </p:nvGrpSpPr>
        <p:grpSpPr>
          <a:xfrm>
            <a:off x="8462050" y="2232335"/>
            <a:ext cx="220608" cy="280800"/>
            <a:chOff x="1261919" y="3266898"/>
            <a:chExt cx="220608" cy="280800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EB280EFB-3919-47CD-96D5-2AD7ADEF7892}"/>
                </a:ext>
              </a:extLst>
            </p:cNvPr>
            <p:cNvSpPr/>
            <p:nvPr/>
          </p:nvSpPr>
          <p:spPr>
            <a:xfrm>
              <a:off x="1261919" y="3359142"/>
              <a:ext cx="220608" cy="29048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nb-NO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0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24350C11-05FA-40F3-90FD-BF92C7AA292E}"/>
                </a:ext>
              </a:extLst>
            </p:cNvPr>
            <p:cNvSpPr/>
            <p:nvPr/>
          </p:nvSpPr>
          <p:spPr>
            <a:xfrm rot="5400000">
              <a:off x="1231823" y="3392549"/>
              <a:ext cx="280800" cy="2949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nb-NO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0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8" name="Graphic 45" descr="Connections">
            <a:extLst>
              <a:ext uri="{FF2B5EF4-FFF2-40B4-BE49-F238E27FC236}">
                <a16:creationId xmlns:a16="http://schemas.microsoft.com/office/drawing/2014/main" id="{A32C5A01-6A6F-4E1C-AE60-600451A70F4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758525" y="2935378"/>
            <a:ext cx="280800" cy="280800"/>
          </a:xfrm>
          <a:prstGeom prst="rect">
            <a:avLst/>
          </a:prstGeom>
          <a:effectLst/>
        </p:spPr>
      </p:pic>
      <p:pic>
        <p:nvPicPr>
          <p:cNvPr id="9" name="Graphic 41" descr="Building">
            <a:extLst>
              <a:ext uri="{FF2B5EF4-FFF2-40B4-BE49-F238E27FC236}">
                <a16:creationId xmlns:a16="http://schemas.microsoft.com/office/drawing/2014/main" id="{F63C5F74-A2CF-4E7B-BDE8-616631E991F6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9644933" y="3881532"/>
            <a:ext cx="280800" cy="280800"/>
          </a:xfrm>
          <a:prstGeom prst="rect">
            <a:avLst/>
          </a:prstGeom>
          <a:effectLst/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602F4A58-3E0A-4E17-85F5-8B6D3DF4D40E}"/>
              </a:ext>
            </a:extLst>
          </p:cNvPr>
          <p:cNvGrpSpPr/>
          <p:nvPr/>
        </p:nvGrpSpPr>
        <p:grpSpPr>
          <a:xfrm>
            <a:off x="9419534" y="4813511"/>
            <a:ext cx="287007" cy="289689"/>
            <a:chOff x="4905821" y="2737251"/>
            <a:chExt cx="287007" cy="289689"/>
          </a:xfrm>
        </p:grpSpPr>
        <p:pic>
          <p:nvPicPr>
            <p:cNvPr id="10" name="Graphic 92" descr="Piggy Bank">
              <a:extLst>
                <a:ext uri="{FF2B5EF4-FFF2-40B4-BE49-F238E27FC236}">
                  <a16:creationId xmlns:a16="http://schemas.microsoft.com/office/drawing/2014/main" id="{90BF9BBE-D187-4D4E-BA26-34CE5F0467C1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4993267" y="2827379"/>
              <a:ext cx="199561" cy="199561"/>
            </a:xfrm>
            <a:prstGeom prst="rect">
              <a:avLst/>
            </a:prstGeom>
          </p:spPr>
        </p:pic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7A97ED80-3165-4996-822E-7A8B5E48A6ED}"/>
                </a:ext>
              </a:extLst>
            </p:cNvPr>
            <p:cNvSpPr/>
            <p:nvPr/>
          </p:nvSpPr>
          <p:spPr>
            <a:xfrm>
              <a:off x="4905821" y="2827379"/>
              <a:ext cx="97759" cy="145061"/>
            </a:xfrm>
            <a:custGeom>
              <a:avLst/>
              <a:gdLst>
                <a:gd name="connsiteX0" fmla="*/ 89002 w 295275"/>
                <a:gd name="connsiteY0" fmla="*/ 337661 h 438150"/>
                <a:gd name="connsiteX1" fmla="*/ 125483 w 295275"/>
                <a:gd name="connsiteY1" fmla="*/ 362141 h 438150"/>
                <a:gd name="connsiteX2" fmla="*/ 296933 w 295275"/>
                <a:gd name="connsiteY2" fmla="*/ 362141 h 438150"/>
                <a:gd name="connsiteX3" fmla="*/ 296933 w 295275"/>
                <a:gd name="connsiteY3" fmla="*/ 438341 h 438150"/>
                <a:gd name="connsiteX4" fmla="*/ 125483 w 295275"/>
                <a:gd name="connsiteY4" fmla="*/ 438341 h 438150"/>
                <a:gd name="connsiteX5" fmla="*/ 21184 w 295275"/>
                <a:gd name="connsiteY5" fmla="*/ 375761 h 438150"/>
                <a:gd name="connsiteX6" fmla="*/ 25756 w 295275"/>
                <a:gd name="connsiteY6" fmla="*/ 259366 h 438150"/>
                <a:gd name="connsiteX7" fmla="*/ 124816 w 295275"/>
                <a:gd name="connsiteY7" fmla="*/ 87916 h 438150"/>
                <a:gd name="connsiteX8" fmla="*/ 59474 w 295275"/>
                <a:gd name="connsiteY8" fmla="*/ 49816 h 438150"/>
                <a:gd name="connsiteX9" fmla="*/ 218923 w 295275"/>
                <a:gd name="connsiteY9" fmla="*/ 7144 h 438150"/>
                <a:gd name="connsiteX10" fmla="*/ 261595 w 295275"/>
                <a:gd name="connsiteY10" fmla="*/ 166592 h 438150"/>
                <a:gd name="connsiteX11" fmla="*/ 192158 w 295275"/>
                <a:gd name="connsiteY11" fmla="*/ 126682 h 438150"/>
                <a:gd name="connsiteX12" fmla="*/ 92717 w 295275"/>
                <a:gd name="connsiteY12" fmla="*/ 299085 h 438150"/>
                <a:gd name="connsiteX13" fmla="*/ 89002 w 295275"/>
                <a:gd name="connsiteY13" fmla="*/ 337661 h 438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95275" h="438150">
                  <a:moveTo>
                    <a:pt x="89002" y="337661"/>
                  </a:moveTo>
                  <a:cubicBezTo>
                    <a:pt x="96188" y="351512"/>
                    <a:pt x="109942" y="360740"/>
                    <a:pt x="125483" y="362141"/>
                  </a:cubicBezTo>
                  <a:lnTo>
                    <a:pt x="296933" y="362141"/>
                  </a:lnTo>
                  <a:lnTo>
                    <a:pt x="296933" y="438341"/>
                  </a:lnTo>
                  <a:lnTo>
                    <a:pt x="125483" y="438341"/>
                  </a:lnTo>
                  <a:cubicBezTo>
                    <a:pt x="82050" y="437551"/>
                    <a:pt x="42319" y="413712"/>
                    <a:pt x="21184" y="375761"/>
                  </a:cubicBezTo>
                  <a:cubicBezTo>
                    <a:pt x="937" y="339133"/>
                    <a:pt x="2698" y="294293"/>
                    <a:pt x="25756" y="259366"/>
                  </a:cubicBezTo>
                  <a:lnTo>
                    <a:pt x="124816" y="87916"/>
                  </a:lnTo>
                  <a:lnTo>
                    <a:pt x="59474" y="49816"/>
                  </a:lnTo>
                  <a:lnTo>
                    <a:pt x="218923" y="7144"/>
                  </a:lnTo>
                  <a:lnTo>
                    <a:pt x="261595" y="166592"/>
                  </a:lnTo>
                  <a:lnTo>
                    <a:pt x="192158" y="126682"/>
                  </a:lnTo>
                  <a:lnTo>
                    <a:pt x="92717" y="299085"/>
                  </a:lnTo>
                  <a:cubicBezTo>
                    <a:pt x="84230" y="310185"/>
                    <a:pt x="82790" y="325145"/>
                    <a:pt x="89002" y="337661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nb-NO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C7C61D08-7D38-4070-8F3F-21014BE6EB1F}"/>
                </a:ext>
              </a:extLst>
            </p:cNvPr>
            <p:cNvSpPr/>
            <p:nvPr/>
          </p:nvSpPr>
          <p:spPr>
            <a:xfrm>
              <a:off x="4977545" y="2737251"/>
              <a:ext cx="151368" cy="119833"/>
            </a:xfrm>
            <a:custGeom>
              <a:avLst/>
              <a:gdLst>
                <a:gd name="connsiteX0" fmla="*/ 7144 w 457200"/>
                <a:gd name="connsiteY0" fmla="*/ 216601 h 361950"/>
                <a:gd name="connsiteX1" fmla="*/ 86868 w 457200"/>
                <a:gd name="connsiteY1" fmla="*/ 67725 h 361950"/>
                <a:gd name="connsiteX2" fmla="*/ 190595 w 457200"/>
                <a:gd name="connsiteY2" fmla="*/ 7146 h 361950"/>
                <a:gd name="connsiteX3" fmla="*/ 289084 w 457200"/>
                <a:gd name="connsiteY3" fmla="*/ 69440 h 361950"/>
                <a:gd name="connsiteX4" fmla="*/ 388144 w 457200"/>
                <a:gd name="connsiteY4" fmla="*/ 240890 h 361950"/>
                <a:gd name="connsiteX5" fmla="*/ 453485 w 457200"/>
                <a:gd name="connsiteY5" fmla="*/ 202790 h 361950"/>
                <a:gd name="connsiteX6" fmla="*/ 410813 w 457200"/>
                <a:gd name="connsiteY6" fmla="*/ 362714 h 361950"/>
                <a:gd name="connsiteX7" fmla="*/ 251746 w 457200"/>
                <a:gd name="connsiteY7" fmla="*/ 320042 h 361950"/>
                <a:gd name="connsiteX8" fmla="*/ 321088 w 457200"/>
                <a:gd name="connsiteY8" fmla="*/ 279942 h 361950"/>
                <a:gd name="connsiteX9" fmla="*/ 221171 w 457200"/>
                <a:gd name="connsiteY9" fmla="*/ 107444 h 361950"/>
                <a:gd name="connsiteX10" fmla="*/ 189548 w 457200"/>
                <a:gd name="connsiteY10" fmla="*/ 84965 h 361950"/>
                <a:gd name="connsiteX11" fmla="*/ 154305 w 457200"/>
                <a:gd name="connsiteY11" fmla="*/ 106682 h 361950"/>
                <a:gd name="connsiteX12" fmla="*/ 74486 w 457200"/>
                <a:gd name="connsiteY12" fmla="*/ 255558 h 361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57200" h="361950">
                  <a:moveTo>
                    <a:pt x="7144" y="216601"/>
                  </a:moveTo>
                  <a:lnTo>
                    <a:pt x="86868" y="67725"/>
                  </a:lnTo>
                  <a:cubicBezTo>
                    <a:pt x="107781" y="30100"/>
                    <a:pt x="147549" y="6875"/>
                    <a:pt x="190595" y="7146"/>
                  </a:cubicBezTo>
                  <a:cubicBezTo>
                    <a:pt x="232447" y="8004"/>
                    <a:pt x="270374" y="31993"/>
                    <a:pt x="289084" y="69440"/>
                  </a:cubicBezTo>
                  <a:lnTo>
                    <a:pt x="388144" y="240890"/>
                  </a:lnTo>
                  <a:lnTo>
                    <a:pt x="453485" y="202790"/>
                  </a:lnTo>
                  <a:lnTo>
                    <a:pt x="410813" y="362714"/>
                  </a:lnTo>
                  <a:lnTo>
                    <a:pt x="251746" y="320042"/>
                  </a:lnTo>
                  <a:lnTo>
                    <a:pt x="321088" y="279942"/>
                  </a:lnTo>
                  <a:lnTo>
                    <a:pt x="221171" y="107444"/>
                  </a:lnTo>
                  <a:cubicBezTo>
                    <a:pt x="215744" y="94562"/>
                    <a:pt x="203498" y="85856"/>
                    <a:pt x="189548" y="84965"/>
                  </a:cubicBezTo>
                  <a:cubicBezTo>
                    <a:pt x="174857" y="85693"/>
                    <a:pt x="161560" y="93887"/>
                    <a:pt x="154305" y="106682"/>
                  </a:cubicBezTo>
                  <a:lnTo>
                    <a:pt x="74486" y="255558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nb-NO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14" name="Graphic 2" descr="Customer review RTL">
            <a:extLst>
              <a:ext uri="{FF2B5EF4-FFF2-40B4-BE49-F238E27FC236}">
                <a16:creationId xmlns:a16="http://schemas.microsoft.com/office/drawing/2014/main" id="{05A6D120-13BB-42B2-A0EF-5A76414056C8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8682658" y="5454230"/>
            <a:ext cx="309634" cy="309634"/>
          </a:xfrm>
          <a:prstGeom prst="rect">
            <a:avLst/>
          </a:prstGeom>
        </p:spPr>
      </p:pic>
      <p:pic>
        <p:nvPicPr>
          <p:cNvPr id="15" name="Graphic 12" descr="Thumbs up sign">
            <a:extLst>
              <a:ext uri="{FF2B5EF4-FFF2-40B4-BE49-F238E27FC236}">
                <a16:creationId xmlns:a16="http://schemas.microsoft.com/office/drawing/2014/main" id="{7198F2A0-27D0-426C-8AA8-5C72C3CEA8E7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5868803" y="6186891"/>
            <a:ext cx="281742" cy="281682"/>
          </a:xfrm>
          <a:prstGeom prst="rect">
            <a:avLst/>
          </a:prstGeom>
        </p:spPr>
      </p:pic>
      <p:pic>
        <p:nvPicPr>
          <p:cNvPr id="16" name="Graphic 65" descr="Handshake">
            <a:extLst>
              <a:ext uri="{FF2B5EF4-FFF2-40B4-BE49-F238E27FC236}">
                <a16:creationId xmlns:a16="http://schemas.microsoft.com/office/drawing/2014/main" id="{2C2CD242-F42E-42EF-98EC-78919975732A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1749478" y="5462202"/>
            <a:ext cx="301662" cy="301662"/>
          </a:xfrm>
          <a:prstGeom prst="rect">
            <a:avLst/>
          </a:prstGeom>
        </p:spPr>
      </p:pic>
      <p:pic>
        <p:nvPicPr>
          <p:cNvPr id="17" name="Graphic 75" descr="Group of people">
            <a:extLst>
              <a:ext uri="{FF2B5EF4-FFF2-40B4-BE49-F238E27FC236}">
                <a16:creationId xmlns:a16="http://schemas.microsoft.com/office/drawing/2014/main" id="{7EEF31E6-E714-45C2-927B-1A519602BCF1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2836140" y="4787439"/>
            <a:ext cx="282018" cy="282018"/>
          </a:xfrm>
          <a:prstGeom prst="rect">
            <a:avLst/>
          </a:prstGeom>
        </p:spPr>
      </p:pic>
      <p:pic>
        <p:nvPicPr>
          <p:cNvPr id="18" name="Graphic 77" descr="Business Growth">
            <a:extLst>
              <a:ext uri="{FF2B5EF4-FFF2-40B4-BE49-F238E27FC236}">
                <a16:creationId xmlns:a16="http://schemas.microsoft.com/office/drawing/2014/main" id="{C377AF14-BA4D-431C-9202-8057CEE64026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2837078" y="3881532"/>
            <a:ext cx="281682" cy="281682"/>
          </a:xfrm>
          <a:prstGeom prst="rect">
            <a:avLst/>
          </a:prstGeom>
        </p:spPr>
      </p:pic>
      <p:pic>
        <p:nvPicPr>
          <p:cNvPr id="19" name="Graphic 51" descr="Doctor">
            <a:extLst>
              <a:ext uri="{FF2B5EF4-FFF2-40B4-BE49-F238E27FC236}">
                <a16:creationId xmlns:a16="http://schemas.microsoft.com/office/drawing/2014/main" id="{199EABF9-6C36-4015-BB65-702F76E3D424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1122422" y="2900934"/>
            <a:ext cx="280802" cy="280800"/>
          </a:xfrm>
          <a:prstGeom prst="rect">
            <a:avLst/>
          </a:prstGeom>
          <a:effectLst/>
        </p:spPr>
      </p:pic>
      <p:pic>
        <p:nvPicPr>
          <p:cNvPr id="20" name="Picture 19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411D929B-C185-4060-9598-1DD7EFD31195}"/>
              </a:ext>
            </a:extLst>
          </p:cNvPr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3624710" y="2232335"/>
            <a:ext cx="280800" cy="280800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D95F25F5-A887-4DFB-BBD8-72F5F6CFCEA1}"/>
              </a:ext>
            </a:extLst>
          </p:cNvPr>
          <p:cNvSpPr/>
          <p:nvPr/>
        </p:nvSpPr>
        <p:spPr bwMode="gray">
          <a:xfrm>
            <a:off x="8322906" y="415756"/>
            <a:ext cx="3452420" cy="1358325"/>
          </a:xfrm>
          <a:prstGeom prst="rect">
            <a:avLst/>
          </a:prstGeom>
          <a:solidFill>
            <a:srgbClr val="FFFFFF"/>
          </a:solidFill>
          <a:ln w="1270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89803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108000" rIns="72000" bIns="72000" rtlCol="0" anchor="ctr"/>
          <a:lstStyle/>
          <a:p>
            <a:pPr>
              <a:lnSpc>
                <a:spcPct val="106000"/>
              </a:lnSpc>
              <a:buClr>
                <a:schemeClr val="tx1"/>
              </a:buClr>
            </a:pPr>
            <a:r>
              <a:rPr lang="nb-NO" sz="1200" b="1"/>
              <a:t>For å vurdere området:</a:t>
            </a:r>
          </a:p>
          <a:p>
            <a:pPr marL="228600" indent="-228600">
              <a:lnSpc>
                <a:spcPct val="106000"/>
              </a:lnSpc>
              <a:buClr>
                <a:schemeClr val="tx1"/>
              </a:buClr>
              <a:buFont typeface="+mj-lt"/>
              <a:buAutoNum type="arabicPeriod"/>
            </a:pPr>
            <a:r>
              <a:rPr lang="nb-NO" sz="1200"/>
              <a:t>Høyreklikk på edderkoppdiagrammet</a:t>
            </a:r>
          </a:p>
          <a:p>
            <a:pPr marL="228600" indent="-228600">
              <a:lnSpc>
                <a:spcPct val="106000"/>
              </a:lnSpc>
              <a:buClr>
                <a:schemeClr val="tx1"/>
              </a:buClr>
              <a:buFont typeface="+mj-lt"/>
              <a:buAutoNum type="arabicPeriod"/>
            </a:pPr>
            <a:r>
              <a:rPr lang="nb-NO" sz="1200"/>
              <a:t>Trykk på rediger data / </a:t>
            </a:r>
            <a:r>
              <a:rPr lang="nb-NO" sz="1200" err="1"/>
              <a:t>edit</a:t>
            </a:r>
            <a:r>
              <a:rPr lang="nb-NO" sz="1200"/>
              <a:t> data</a:t>
            </a:r>
          </a:p>
          <a:p>
            <a:pPr marL="228600" indent="-228600">
              <a:lnSpc>
                <a:spcPct val="106000"/>
              </a:lnSpc>
              <a:buClr>
                <a:schemeClr val="tx1"/>
              </a:buClr>
              <a:buFont typeface="+mj-lt"/>
              <a:buAutoNum type="arabicPeriod"/>
            </a:pPr>
            <a:r>
              <a:rPr lang="nb-NO" sz="1200"/>
              <a:t>Skriv inn tall fra 0 – 10 på hvert av områdene (der 0 er minst og 10 er mest)</a:t>
            </a:r>
          </a:p>
          <a:p>
            <a:pPr marL="228600" indent="-228600">
              <a:lnSpc>
                <a:spcPct val="106000"/>
              </a:lnSpc>
              <a:buClr>
                <a:schemeClr val="tx1"/>
              </a:buClr>
              <a:buFont typeface="+mj-lt"/>
              <a:buAutoNum type="arabicPeriod"/>
            </a:pPr>
            <a:r>
              <a:rPr lang="nb-NO" sz="1200"/>
              <a:t>Obs. for befolkningsgrunnlag og befolkningsvekst – se scoringsskjema på neste side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7B296571-4A57-4066-BBFC-77D1160B116B}"/>
              </a:ext>
            </a:extLst>
          </p:cNvPr>
          <p:cNvSpPr/>
          <p:nvPr/>
        </p:nvSpPr>
        <p:spPr bwMode="gray">
          <a:xfrm>
            <a:off x="838200" y="1231084"/>
            <a:ext cx="2660614" cy="542997"/>
          </a:xfrm>
          <a:prstGeom prst="rect">
            <a:avLst/>
          </a:prstGeom>
          <a:noFill/>
          <a:ln w="19050" algn="ctr">
            <a:solidFill>
              <a:srgbClr val="ED262B"/>
            </a:solidFill>
            <a:miter lim="800000"/>
            <a:headEnd/>
            <a:tailEnd/>
          </a:ln>
          <a:effectLst/>
        </p:spPr>
        <p:txBody>
          <a:bodyPr lIns="72000" tIns="108000" rIns="72000" bIns="72000" rtlCol="0" anchor="ctr"/>
          <a:lstStyle/>
          <a:p>
            <a:pPr algn="ctr">
              <a:lnSpc>
                <a:spcPct val="106000"/>
              </a:lnSpc>
              <a:buClr>
                <a:schemeClr val="tx1"/>
              </a:buClr>
            </a:pPr>
            <a:r>
              <a:rPr lang="nb-NO"/>
              <a:t>«Navn på området»</a:t>
            </a:r>
          </a:p>
        </p:txBody>
      </p:sp>
    </p:spTree>
    <p:extLst>
      <p:ext uri="{BB962C8B-B14F-4D97-AF65-F5344CB8AC3E}">
        <p14:creationId xmlns:p14="http://schemas.microsoft.com/office/powerpoint/2010/main" val="3407959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D0672A2E-8E02-4AD7-BF3D-A3E0E628C55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028353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5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D0672A2E-8E02-4AD7-BF3D-A3E0E628C5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17F50C4A-7AA9-4975-8E8D-E9B95868546D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rgbClr val="FFFFFF"/>
          </a:solidFill>
          <a:ln w="1270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89803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106000"/>
              </a:lnSpc>
              <a:buClr>
                <a:schemeClr val="tx1"/>
              </a:buClr>
            </a:pPr>
            <a:endParaRPr lang="nb-NO" sz="2800" b="1" err="1">
              <a:latin typeface="Garamond" panose="02020404030301010803" pitchFamily="18" charset="0"/>
              <a:ea typeface="+mj-ea"/>
              <a:cs typeface="+mj-cs"/>
              <a:sym typeface="Garamond" panose="02020404030301010803" pitchFamily="18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ABB0F16-17BD-4C6C-A1F8-C5523DB047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lnSpc>
                <a:spcPct val="106000"/>
              </a:lnSpc>
            </a:pPr>
            <a:r>
              <a:rPr lang="nb-NO"/>
              <a:t>Kvantitative rangering av befolkningsgrunnlag og befolkningsvekst</a:t>
            </a:r>
          </a:p>
        </p:txBody>
      </p:sp>
      <p:pic>
        <p:nvPicPr>
          <p:cNvPr id="5" name="Graphic 75" descr="Group of people">
            <a:extLst>
              <a:ext uri="{FF2B5EF4-FFF2-40B4-BE49-F238E27FC236}">
                <a16:creationId xmlns:a16="http://schemas.microsoft.com/office/drawing/2014/main" id="{D48FF937-94AD-44C4-AF36-B236E57FD58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057085" y="2201315"/>
            <a:ext cx="186733" cy="186733"/>
          </a:xfrm>
          <a:prstGeom prst="rect">
            <a:avLst/>
          </a:prstGeom>
        </p:spPr>
      </p:pic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4DB7AB79-217B-44AB-B6FB-05C18EF7EAE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45989320"/>
              </p:ext>
            </p:extLst>
          </p:nvPr>
        </p:nvGraphicFramePr>
        <p:xfrm>
          <a:off x="2333889" y="2182653"/>
          <a:ext cx="1986185" cy="3108960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1400214">
                  <a:extLst>
                    <a:ext uri="{9D8B030D-6E8A-4147-A177-3AD203B41FA5}">
                      <a16:colId xmlns:a16="http://schemas.microsoft.com/office/drawing/2014/main" val="1925409845"/>
                    </a:ext>
                  </a:extLst>
                </a:gridCol>
                <a:gridCol w="585971">
                  <a:extLst>
                    <a:ext uri="{9D8B030D-6E8A-4147-A177-3AD203B41FA5}">
                      <a16:colId xmlns:a16="http://schemas.microsoft.com/office/drawing/2014/main" val="2730562335"/>
                    </a:ext>
                  </a:extLst>
                </a:gridCol>
              </a:tblGrid>
              <a:tr h="21257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100">
                          <a:solidFill>
                            <a:schemeClr val="bg1"/>
                          </a:solidFill>
                        </a:rPr>
                        <a:t>Befolkningsgrunnlag</a:t>
                      </a:r>
                    </a:p>
                  </a:txBody>
                  <a:tcPr>
                    <a:solidFill>
                      <a:srgbClr val="ED262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100">
                          <a:solidFill>
                            <a:schemeClr val="bg1"/>
                          </a:solidFill>
                        </a:rPr>
                        <a:t>Nivå</a:t>
                      </a:r>
                    </a:p>
                  </a:txBody>
                  <a:tcPr>
                    <a:solidFill>
                      <a:srgbClr val="ED262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0065929"/>
                  </a:ext>
                </a:extLst>
              </a:tr>
              <a:tr h="21257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100"/>
                        <a:t>1 – 10 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100"/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13745106"/>
                  </a:ext>
                </a:extLst>
              </a:tr>
              <a:tr h="22314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100"/>
                        <a:t>10 001 – 20 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100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23015296"/>
                  </a:ext>
                </a:extLst>
              </a:tr>
              <a:tr h="22314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100"/>
                        <a:t>20 00 – 30 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100"/>
                        <a:t>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47215267"/>
                  </a:ext>
                </a:extLst>
              </a:tr>
              <a:tr h="22314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100"/>
                        <a:t>30 000 – 40 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100"/>
                        <a:t>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77398241"/>
                  </a:ext>
                </a:extLst>
              </a:tr>
              <a:tr h="22314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100"/>
                        <a:t>40 000 – 50 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100"/>
                        <a:t>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9593481"/>
                  </a:ext>
                </a:extLst>
              </a:tr>
              <a:tr h="223147">
                <a:tc>
                  <a:txBody>
                    <a:bodyPr/>
                    <a:lstStyle/>
                    <a:p>
                      <a:r>
                        <a:rPr lang="nb-NO" sz="1100"/>
                        <a:t>50 000 – 60 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100"/>
                        <a:t>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92949287"/>
                  </a:ext>
                </a:extLst>
              </a:tr>
              <a:tr h="22314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100"/>
                        <a:t>60 001 – 70 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100"/>
                        <a:t>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37928090"/>
                  </a:ext>
                </a:extLst>
              </a:tr>
              <a:tr h="22314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100"/>
                        <a:t>70 000 – 80 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100"/>
                        <a:t>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31680202"/>
                  </a:ext>
                </a:extLst>
              </a:tr>
              <a:tr h="22314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100"/>
                        <a:t>80 000 – 90 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100"/>
                        <a:t>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3635952"/>
                  </a:ext>
                </a:extLst>
              </a:tr>
              <a:tr h="22314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100"/>
                        <a:t>90 000 – 100 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100"/>
                        <a:t>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79739834"/>
                  </a:ext>
                </a:extLst>
              </a:tr>
              <a:tr h="22314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100"/>
                        <a:t>100 001 </a:t>
                      </a:r>
                      <a:r>
                        <a:rPr lang="nb-NO" sz="1100">
                          <a:sym typeface="Wingdings" panose="05000000000000000000" pitchFamily="2" charset="2"/>
                        </a:rPr>
                        <a:t></a:t>
                      </a:r>
                      <a:endParaRPr lang="nb-NO" sz="11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100"/>
                        <a:t>1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67875126"/>
                  </a:ext>
                </a:extLst>
              </a:tr>
            </a:tbl>
          </a:graphicData>
        </a:graphic>
      </p:graphicFrame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EF1B6F68-BF24-401D-8950-7878F463953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28837099"/>
              </p:ext>
            </p:extLst>
          </p:nvPr>
        </p:nvGraphicFramePr>
        <p:xfrm>
          <a:off x="7406451" y="2220087"/>
          <a:ext cx="1986185" cy="3108960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1400214">
                  <a:extLst>
                    <a:ext uri="{9D8B030D-6E8A-4147-A177-3AD203B41FA5}">
                      <a16:colId xmlns:a16="http://schemas.microsoft.com/office/drawing/2014/main" val="1925409845"/>
                    </a:ext>
                  </a:extLst>
                </a:gridCol>
                <a:gridCol w="585971">
                  <a:extLst>
                    <a:ext uri="{9D8B030D-6E8A-4147-A177-3AD203B41FA5}">
                      <a16:colId xmlns:a16="http://schemas.microsoft.com/office/drawing/2014/main" val="2730562335"/>
                    </a:ext>
                  </a:extLst>
                </a:gridCol>
              </a:tblGrid>
              <a:tr h="21257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100">
                          <a:solidFill>
                            <a:schemeClr val="bg1"/>
                          </a:solidFill>
                        </a:rPr>
                        <a:t>Befolkningsvekst (%)</a:t>
                      </a:r>
                    </a:p>
                  </a:txBody>
                  <a:tcPr>
                    <a:solidFill>
                      <a:srgbClr val="ED262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100">
                          <a:solidFill>
                            <a:schemeClr val="bg1"/>
                          </a:solidFill>
                        </a:rPr>
                        <a:t>Nivå</a:t>
                      </a:r>
                    </a:p>
                  </a:txBody>
                  <a:tcPr>
                    <a:solidFill>
                      <a:srgbClr val="ED262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0065929"/>
                  </a:ext>
                </a:extLst>
              </a:tr>
              <a:tr h="21257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100"/>
                        <a:t>≤ 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100"/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13745106"/>
                  </a:ext>
                </a:extLst>
              </a:tr>
              <a:tr h="22314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100"/>
                        <a:t>0 – 0,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100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23015296"/>
                  </a:ext>
                </a:extLst>
              </a:tr>
              <a:tr h="22314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100"/>
                        <a:t>0,2 – 0,4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100"/>
                        <a:t>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47215267"/>
                  </a:ext>
                </a:extLst>
              </a:tr>
              <a:tr h="22314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100"/>
                        <a:t>0,4 – 0,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100"/>
                        <a:t>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77398241"/>
                  </a:ext>
                </a:extLst>
              </a:tr>
              <a:tr h="22314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100"/>
                        <a:t>0,6 – 0,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100"/>
                        <a:t>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9593481"/>
                  </a:ext>
                </a:extLst>
              </a:tr>
              <a:tr h="223147">
                <a:tc>
                  <a:txBody>
                    <a:bodyPr/>
                    <a:lstStyle/>
                    <a:p>
                      <a:r>
                        <a:rPr lang="nb-NO" sz="1100"/>
                        <a:t>0,8 – 1,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100"/>
                        <a:t>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92949287"/>
                  </a:ext>
                </a:extLst>
              </a:tr>
              <a:tr h="22314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100"/>
                        <a:t>1,0 – 1,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100"/>
                        <a:t>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37928090"/>
                  </a:ext>
                </a:extLst>
              </a:tr>
              <a:tr h="22314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100"/>
                        <a:t>1,2 – 1,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100"/>
                        <a:t>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31680202"/>
                  </a:ext>
                </a:extLst>
              </a:tr>
              <a:tr h="22314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100"/>
                        <a:t>1,4 – 1,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100"/>
                        <a:t>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3635952"/>
                  </a:ext>
                </a:extLst>
              </a:tr>
              <a:tr h="22314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100"/>
                        <a:t>1,6 – 1,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100"/>
                        <a:t>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79739834"/>
                  </a:ext>
                </a:extLst>
              </a:tr>
              <a:tr h="22314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100"/>
                        <a:t>1,8 </a:t>
                      </a:r>
                      <a:r>
                        <a:rPr lang="nb-NO" sz="1100">
                          <a:sym typeface="Wingdings" panose="05000000000000000000" pitchFamily="2" charset="2"/>
                        </a:rPr>
                        <a:t></a:t>
                      </a:r>
                      <a:endParaRPr lang="nb-NO" sz="11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100"/>
                        <a:t>1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67875126"/>
                  </a:ext>
                </a:extLst>
              </a:tr>
            </a:tbl>
          </a:graphicData>
        </a:graphic>
      </p:graphicFrame>
      <p:pic>
        <p:nvPicPr>
          <p:cNvPr id="8" name="Graphic 77" descr="Business Growth">
            <a:extLst>
              <a:ext uri="{FF2B5EF4-FFF2-40B4-BE49-F238E27FC236}">
                <a16:creationId xmlns:a16="http://schemas.microsoft.com/office/drawing/2014/main" id="{C65AB3AC-DACD-4450-9E8F-E6FA0E7A06A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056164" y="2191274"/>
            <a:ext cx="281682" cy="2816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41753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C89A4B6-3BF4-41AC-8F49-197EB39B435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35143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69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C89A4B6-3BF4-41AC-8F49-197EB39B43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617065E-9AC7-49A6-B312-2084275505A9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rgbClr val="FFFFFF"/>
          </a:solidFill>
          <a:ln w="1270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89803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106000"/>
              </a:lnSpc>
              <a:buClr>
                <a:schemeClr val="tx1"/>
              </a:buClr>
            </a:pPr>
            <a:endParaRPr lang="nb-NO" sz="2800" b="1" err="1">
              <a:latin typeface="Garamond" panose="02020404030301010803" pitchFamily="18" charset="0"/>
              <a:ea typeface="+mj-ea"/>
              <a:cs typeface="+mj-cs"/>
              <a:sym typeface="Garamond" panose="02020404030301010803" pitchFamily="18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718B21A-CF73-4FD0-83B0-E42F7A752B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Relevante linker for å innhente informasjon om sitt områd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8AE3BD-2FDA-416A-9858-707DF9CF893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nb-NO" b="1"/>
              <a:t>Kommunefakta</a:t>
            </a:r>
            <a:endParaRPr lang="nb-NO" b="1">
              <a:hlinkClick r:id="rId7"/>
            </a:endParaRPr>
          </a:p>
          <a:p>
            <a:pPr marL="0" indent="0">
              <a:buNone/>
            </a:pPr>
            <a:r>
              <a:rPr lang="nb-NO">
                <a:hlinkClick r:id="rId7"/>
              </a:rPr>
              <a:t>https://www.ssb.no/kommunefakta</a:t>
            </a:r>
            <a:endParaRPr lang="nb-NO"/>
          </a:p>
          <a:p>
            <a:endParaRPr lang="nb-NO"/>
          </a:p>
          <a:p>
            <a:pPr marL="0" indent="0">
              <a:buNone/>
            </a:pPr>
            <a:r>
              <a:rPr lang="nb-NO" b="1"/>
              <a:t>Befolkningsstatistikk</a:t>
            </a:r>
          </a:p>
          <a:p>
            <a:pPr marL="0" indent="0">
              <a:buNone/>
            </a:pPr>
            <a:r>
              <a:rPr lang="nb-NO">
                <a:hlinkClick r:id="rId8"/>
              </a:rPr>
              <a:t>https://www.ssb.no/befolkning/statistikker/folkemengde/aar-per-1-januar</a:t>
            </a:r>
            <a:endParaRPr lang="nb-NO"/>
          </a:p>
          <a:p>
            <a:pPr marL="0" indent="0">
              <a:buNone/>
            </a:pPr>
            <a:endParaRPr lang="nb-NO"/>
          </a:p>
          <a:p>
            <a:pPr marL="0" indent="0">
              <a:buNone/>
            </a:pPr>
            <a:r>
              <a:rPr lang="nb-NO" b="1"/>
              <a:t>KOSTRA-tall</a:t>
            </a:r>
          </a:p>
          <a:p>
            <a:pPr marL="0" indent="0">
              <a:buNone/>
            </a:pPr>
            <a:r>
              <a:rPr lang="nb-NO"/>
              <a:t>KOSTRA står for Kommune-Stat-Rapportering og gir styringsinformasjon om ressursinnsatsen, prioriteringer og måloppnåelse i kommuner, bydeler og fylkeskommuner. Det finnes tall om f.eks. pleie- og omsorgstjenester, barnehagedekning og saksbehandlingstid, og man kan sammenligne kommuner med hverandre, med regionale inndelinger og med landsgjennomsnittet.</a:t>
            </a:r>
            <a:endParaRPr lang="nb-NO" b="1"/>
          </a:p>
          <a:p>
            <a:pPr marL="0" indent="0">
              <a:buNone/>
            </a:pPr>
            <a:r>
              <a:rPr lang="nb-NO">
                <a:hlinkClick r:id="rId9"/>
              </a:rPr>
              <a:t>https://www.ssb.no/kommunefakta/kostra</a:t>
            </a:r>
            <a:endParaRPr lang="nb-NO"/>
          </a:p>
          <a:p>
            <a:pPr marL="0" indent="0">
              <a:buNone/>
            </a:pPr>
            <a:endParaRPr lang="nb-NO" b="1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FBA5E6-81E9-4930-A913-9579D2E1353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342387-4C64-2345-844A-655F6DE07248}" type="slidenum">
              <a:rPr lang="nb-NO" smtClean="0"/>
              <a:t>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8566975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786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.%#m.%y&lt;/m_strFormatTime&gt;&lt;m_yearfmt&gt;&lt;begin val=&quot;4&quot;/&gt;&lt;end val=&quot;4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10&quot;&gt;&lt;elem m_fUsage=&quot;3.08148113209464913353E+00&quot;&gt;&lt;m_msothmcolidx val=&quot;0&quot;/&gt;&lt;m_rgb r=&quot;FD&quot; g=&quot;E6&quot; b=&quot;E7&quot;/&gt;&lt;m_nBrightness endver=&quot;26206&quot; val=&quot;0&quot;/&gt;&lt;/elem&gt;&lt;elem m_fUsage=&quot;3.05724922776974761263E+00&quot;&gt;&lt;m_msothmcolidx val=&quot;0&quot;/&gt;&lt;m_rgb r=&quot;ED&quot; g=&quot;26&quot; b=&quot;2B&quot;/&gt;&lt;m_nBrightness endver=&quot;26206&quot; val=&quot;0&quot;/&gt;&lt;/elem&gt;&lt;elem m_fUsage=&quot;1.52674301888518426651E+00&quot;&gt;&lt;m_msothmcolidx val=&quot;0&quot;/&gt;&lt;m_rgb r=&quot;FA&quot; g=&quot;BC&quot; b=&quot;BD&quot;/&gt;&lt;m_nBrightness endver=&quot;26206&quot; val=&quot;0&quot;/&gt;&lt;/elem&gt;&lt;elem m_fUsage=&quot;1.00000000000000000000E+00&quot;&gt;&lt;m_msothmcolidx val=&quot;0&quot;/&gt;&lt;m_rgb r=&quot;F8&quot; g=&quot;CA&quot; b=&quot;C7&quot;/&gt;&lt;m_nBrightness endver=&quot;26206&quot; val=&quot;0&quot;/&gt;&lt;/elem&gt;&lt;elem m_fUsage=&quot;6.13382071767299308362E-01&quot;&gt;&lt;m_msothmcolidx val=&quot;0&quot;/&gt;&lt;m_rgb r=&quot;F4&quot; g=&quot;7D&quot; b=&quot;81&quot;/&gt;&lt;m_nBrightness endver=&quot;26206&quot; val=&quot;0&quot;/&gt;&lt;/elem&gt;&lt;elem m_fUsage=&quot;1.66771816996665767086E-01&quot;&gt;&lt;m_msothmcolidx val=&quot;0&quot;/&gt;&lt;m_rgb r=&quot;F9&quot; g=&quot;B0&quot; b=&quot;B3&quot;/&gt;&lt;m_nBrightness endver=&quot;26206&quot; val=&quot;0&quot;/&gt;&lt;/elem&gt;&lt;elem m_fUsage=&quot;1.50094635296999207030E-01&quot;&gt;&lt;m_msothmcolidx val=&quot;0&quot;/&gt;&lt;m_rgb r=&quot;F8&quot; g=&quot;A3&quot; b=&quot;A5&quot;/&gt;&lt;m_nBrightness endver=&quot;26206&quot; val=&quot;0&quot;/&gt;&lt;/elem&gt;&lt;elem m_fUsage=&quot;1.09418989131512434110E-01&quot;&gt;&lt;m_msothmcolidx val=&quot;0&quot;/&gt;&lt;m_rgb r=&quot;F3&quot; g=&quot;7C&quot; b=&quot;80&quot;/&gt;&lt;m_nBrightness endver=&quot;26206&quot; val=&quot;0&quot;/&gt;&lt;/elem&gt;&lt;elem m_fUsage=&quot;9.84770902183611934744E-02&quot;&gt;&lt;m_msothmcolidx val=&quot;0&quot;/&gt;&lt;m_rgb r=&quot;F0&quot; g=&quot;53&quot; b=&quot;57&quot;/&gt;&lt;m_nBrightness endver=&quot;26206&quot; val=&quot;0&quot;/&gt;&lt;/elem&gt;&lt;elem m_fUsage=&quot;8.86293811965250810658E-02&quot;&gt;&lt;m_msothmcolidx val=&quot;0&quot;/&gt;&lt;m_rgb r=&quot;F0&quot; g=&quot;4F&quot; b=&quot;53&quot;/&gt;&lt;m_nBrightness endver=&quot;26206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0g_2iMRWqIa7pU8Pyas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pZh5kNUQI.ygWKmqZuPc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EOsmoBSAaGej1N0rqii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6LJh54EQUirWu1q3X7Fb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sj9Vu7T6me8ESrkSxob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ayiAg5ORWa_TRX025FBu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4m3DR3Q82gYA4HZyHau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4_ogso8t4A4rO74_6HnL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69pY1j3KjsBp4ogyTcS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0L5FwvWM17QKEPE_68dB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3dLtoyTHSECY7ITk86y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0L5FwvWM17QKEPE_68dB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0L5FwvWM17QKEPE_68dB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0L5FwvWM17QKEPE_68dB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0L5FwvWM17QKEPE_68dB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K4OwVJtes6V8vsMToE9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oaas\AppData\Local\Temp\Templafy\PowerPointVsto\Assets\6956fae3-55fb-4661-a0fe-3c05a56b7412.jpe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K4OwVJtes6V8vsMToE9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oaas\AppData\Local\Temp\Templafy\PowerPointVsto\Assets\41a0025b-078d-4bd7-96a4-c6248c5523a5.jpe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N7dGOkYEPRKJPuqVoyH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oaas\AppData\Local\Temp\Templafy\PowerPointVsto\Assets\a02202e2-64b7-4795-8e0d-9b1e19c8af65.jpe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N7dGOkYEPRKJPuqVoyH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oaas\AppData\Local\Temp\Templafy\PowerPointVsto\Assets\a02202e2-64b7-4795-8e0d-9b1e19c8af65.jpe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lu09w1RbKj_Xvyjvf99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KmkqkAE.E7DyqqWnni2I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Aw6T0pflREMtk_sq1DjL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Aw6T0pflREMtk_sq1DjL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qQE4Eu0VijjQLQOVPef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pZh5kNUQI.ygWKmqZuPc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aBS9ch.gmozf6wtLCFBe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CSV7v55q5dApf_vVhaPh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Pi9b7ly6lhL16ssJmJqa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4PYNdQKVc.BCyimZvJpd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VvRIRZIhK.fhk6DL41JY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z94DhLRmGVlsUAf0jsN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fH8YXsrT66SP.KgMeKM4w"/>
</p:tagLst>
</file>

<file path=ppt/theme/theme1.xml><?xml version="1.0" encoding="utf-8"?>
<a:theme xmlns:a="http://schemas.openxmlformats.org/drawingml/2006/main" name="Rød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rgbClr val="FFFFFF"/>
        </a:solidFill>
        <a:ln w="12700" algn="ctr">
          <a:solidFill>
            <a:schemeClr val="bg1">
              <a:lumMod val="65000"/>
            </a:schemeClr>
          </a:solidFill>
          <a:miter lim="800000"/>
          <a:headEnd/>
          <a:tailEnd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89803" dir="2700000" algn="ctr" rotWithShape="0">
                  <a:schemeClr val="bg2"/>
                </a:outerShdw>
              </a:effectLst>
            </a14:hiddenEffects>
          </a:ext>
        </a:extLst>
      </a:spPr>
      <a:bodyPr lIns="72000" tIns="108000" rIns="72000" bIns="72000"/>
      <a:lstStyle>
        <a:defPPr marL="171450" indent="-171450">
          <a:lnSpc>
            <a:spcPct val="106000"/>
          </a:lnSpc>
          <a:buClr>
            <a:schemeClr val="tx1"/>
          </a:buClr>
          <a:buFont typeface="Arial" pitchFamily="34" charset="0"/>
          <a:buChar char="•"/>
          <a:defRPr sz="1200" dirty="0" err="1" smtClean="0"/>
        </a:defPPr>
      </a:lstStyle>
    </a:spDef>
  </a:objectDefaults>
  <a:extraClrSchemeLst/>
  <a:extLst>
    <a:ext uri="{05A4C25C-085E-4340-85A3-A5531E510DB2}">
      <thm15:themeFamily xmlns:thm15="http://schemas.microsoft.com/office/thememl/2012/main" name="Powerpointmal 2018" id="{9E63A37F-D99D-ED46-A08D-1FB3A632E260}" vid="{565F73B9-DA21-F24C-86A2-DD388BD6D3EF}"/>
    </a:ext>
  </a:extLst>
</a:theme>
</file>

<file path=ppt/theme/theme2.xml><?xml version="1.0" encoding="utf-8"?>
<a:theme xmlns:a="http://schemas.openxmlformats.org/drawingml/2006/main" name="7_Rød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sjon FA" id="{5BA5E0F9-3F3F-D348-A870-A6E5EE993F9F}" vid="{F29A2A77-8135-AB4B-82D2-690B80C3422C}"/>
    </a:ext>
  </a:extLst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5EDBCCF4E4D8994FAF0D0D35823AA4CF" ma:contentTypeVersion="2" ma:contentTypeDescription="Opprett et nytt dokument." ma:contentTypeScope="" ma:versionID="ff9a8f3823aba1b1997d4add83b61364">
  <xsd:schema xmlns:xsd="http://www.w3.org/2001/XMLSchema" xmlns:xs="http://www.w3.org/2001/XMLSchema" xmlns:p="http://schemas.microsoft.com/office/2006/metadata/properties" xmlns:ns2="6b73826b-98b1-4b87-b779-c574cc408c7a" targetNamespace="http://schemas.microsoft.com/office/2006/metadata/properties" ma:root="true" ma:fieldsID="398b57c1b2857d1e8bdc38d1bcc5a26a" ns2:_="">
    <xsd:import namespace="6b73826b-98b1-4b87-b779-c574cc408c7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b73826b-98b1-4b87-b779-c574cc408c7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404A927-A54F-4377-8FDC-9749B4159BCD}"/>
</file>

<file path=customXml/itemProps2.xml><?xml version="1.0" encoding="utf-8"?>
<ds:datastoreItem xmlns:ds="http://schemas.openxmlformats.org/officeDocument/2006/customXml" ds:itemID="{D55A798C-7769-401A-A22B-88E73DD4106E}">
  <ds:schemaRefs>
    <ds:schemaRef ds:uri="http://purl.org/dc/terms/"/>
    <ds:schemaRef ds:uri="http://schemas.microsoft.com/office/2006/metadata/properties"/>
    <ds:schemaRef ds:uri="http://schemas.microsoft.com/office/2006/documentManagement/types"/>
    <ds:schemaRef ds:uri="http://purl.org/dc/elements/1.1/"/>
    <ds:schemaRef ds:uri="http://purl.org/dc/dcmitype/"/>
    <ds:schemaRef ds:uri="b5aac12f-e4bb-4e0f-9ecc-9b75bb377068"/>
    <ds:schemaRef ds:uri="http://schemas.openxmlformats.org/package/2006/metadata/core-properties"/>
    <ds:schemaRef ds:uri="http://schemas.microsoft.com/office/infopath/2007/PartnerControls"/>
    <ds:schemaRef ds:uri="1001c950-faf1-4d3c-acd6-78f32fe2852f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52EDCD08-4A41-47BA-BBED-AED3AB62217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Rød</Template>
  <TotalTime>0</TotalTime>
  <Words>388</Words>
  <Application>Microsoft Macintosh PowerPoint</Application>
  <PresentationFormat>Widescreen</PresentationFormat>
  <Paragraphs>88</Paragraphs>
  <Slides>5</Slides>
  <Notes>0</Notes>
  <HiddenSlides>0</HiddenSlides>
  <MMClips>0</MMClips>
  <ScaleCrop>false</ScaleCrop>
  <HeadingPairs>
    <vt:vector size="8" baseType="variant">
      <vt:variant>
        <vt:lpstr>Brukte skrifter</vt:lpstr>
      </vt:variant>
      <vt:variant>
        <vt:i4>6</vt:i4>
      </vt:variant>
      <vt:variant>
        <vt:lpstr>Tema</vt:lpstr>
      </vt:variant>
      <vt:variant>
        <vt:i4>2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5</vt:i4>
      </vt:variant>
    </vt:vector>
  </HeadingPairs>
  <TitlesOfParts>
    <vt:vector size="14" baseType="lpstr">
      <vt:lpstr>Arial</vt:lpstr>
      <vt:lpstr>Calibri</vt:lpstr>
      <vt:lpstr>Garamond</vt:lpstr>
      <vt:lpstr>Gill Sans</vt:lpstr>
      <vt:lpstr>Gill Sans MT</vt:lpstr>
      <vt:lpstr>Wingdings</vt:lpstr>
      <vt:lpstr>Rød</vt:lpstr>
      <vt:lpstr>7_Rød</vt:lpstr>
      <vt:lpstr>think-cell Slide</vt:lpstr>
      <vt:lpstr>Frelsesarmeens verktøy for vurdering av geografiske områder</vt:lpstr>
      <vt:lpstr>Frelsesarmeens arbeid skal utføres i de områdene der det er mest behov og størst mulighet for å realisere oppdraget</vt:lpstr>
      <vt:lpstr>Internvurdering av et geografisk område</vt:lpstr>
      <vt:lpstr>Kvantitative rangering av befolkningsgrunnlag og befolkningsvekst</vt:lpstr>
      <vt:lpstr>Relevante linker for å innhente informasjon om sitt områd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ategi, struktur og resultat</dc:title>
  <dc:creator>Microsoft Office User</dc:creator>
  <cp:lastModifiedBy>Knut Haugsvær</cp:lastModifiedBy>
  <cp:revision>1</cp:revision>
  <cp:lastPrinted>2019-03-04T08:16:21Z</cp:lastPrinted>
  <dcterms:created xsi:type="dcterms:W3CDTF">2019-01-18T12:38:51Z</dcterms:created>
  <dcterms:modified xsi:type="dcterms:W3CDTF">2021-01-07T22:58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EDBCCF4E4D8994FAF0D0D35823AA4CF</vt:lpwstr>
  </property>
</Properties>
</file>